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9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revisionInfo.xml" ContentType="application/vnd.ms-powerpoint.revisioninfo+xml"/>
  <Override PartName="/ppt/tags/tag30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5.xml" ContentType="application/vnd.openxmlformats-officedocument.presentationml.tags+xml"/>
  <Override PartName="/ppt/tags/tag33.xml" ContentType="application/vnd.openxmlformats-officedocument.presentationml.tags+xml"/>
  <Override PartName="/ppt/tags/tag1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2.xml" ContentType="application/vnd.openxmlformats-officedocument.presentationml.tags+xml"/>
  <Override PartName="/ppt/tags/tag36.xml" ContentType="application/vnd.openxmlformats-officedocument.presentationml.tags+xml"/>
  <Override PartName="/docProps/core.xml" ContentType="application/vnd.openxmlformats-package.core-properties+xml"/>
  <Override PartName="/ppt/tags/tag34.xml" ContentType="application/vnd.openxmlformats-officedocument.presentationml.tags+xml"/>
  <Override PartName="/ppt/tags/tag3.xml" ContentType="application/vnd.openxmlformats-officedocument.presentationml.tags+xml"/>
  <Override PartName="/ppt/tags/tag29.xml" ContentType="application/vnd.openxmlformats-officedocument.presentationml.tags+xml"/>
  <Override PartName="/ppt/tags/tag6.xml" ContentType="application/vnd.openxmlformats-officedocument.presentationml.tags+xml"/>
  <Override PartName="/ppt/tags/tag14.xml" ContentType="application/vnd.openxmlformats-officedocument.presentationml.tags+xml"/>
  <Override PartName="/ppt/tags/tag2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23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9" r:id="rId3"/>
    <p:sldId id="331" r:id="rId4"/>
    <p:sldId id="332" r:id="rId5"/>
    <p:sldId id="330" r:id="rId6"/>
    <p:sldId id="333" r:id="rId7"/>
    <p:sldId id="334" r:id="rId8"/>
    <p:sldId id="335" r:id="rId9"/>
    <p:sldId id="336" r:id="rId10"/>
    <p:sldId id="337" r:id="rId11"/>
    <p:sldId id="276" r:id="rId12"/>
    <p:sldId id="274" r:id="rId13"/>
    <p:sldId id="275" r:id="rId14"/>
  </p:sldIdLst>
  <p:sldSz cx="9144000" cy="5143500" type="screen16x9"/>
  <p:notesSz cx="6797675" cy="992663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A"/>
    <a:srgbClr val="0066A9"/>
    <a:srgbClr val="82A4CE"/>
    <a:srgbClr val="0072C0"/>
    <a:srgbClr val="006BB4"/>
    <a:srgbClr val="699AC9"/>
    <a:srgbClr val="000000"/>
    <a:srgbClr val="A5C2DF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370" autoAdjust="0"/>
  </p:normalViewPr>
  <p:slideViewPr>
    <p:cSldViewPr snapToObjects="1" showGuides="1">
      <p:cViewPr varScale="1">
        <p:scale>
          <a:sx n="151" d="100"/>
          <a:sy n="151" d="100"/>
        </p:scale>
        <p:origin x="456" y="120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26" Type="http://schemas.openxmlformats.org/officeDocument/2006/relationships/customXml" Target="../customXml/item3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Relationship Id="rId27" Type="http://schemas.openxmlformats.org/officeDocument/2006/relationships/customXml" Target="../customXml/item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5/06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3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8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0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1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6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2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2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e-control.at/documents/20903/388512/GSNE-VO+2013+konsolidierte+Fassung+15092017+clean.pdf/6b7011da-7506-bd1d-08b0-a6923fe79248" TargetMode="Externa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hyperlink" Target="http://www.google.at/url?sa=i&amp;rct=j&amp;q=&amp;esrc=s&amp;source=images&amp;cd=&amp;cad=rja&amp;uact=8&amp;ved=0ahUKEwj8y6riw8DNAhUDXBQKHaftCGsQjRwIBw&amp;url=http://stromliste.at/energiemarkt/e-control&amp;bvm=bv.125221236,d.d24&amp;psig=AFQjCNGvd4H80ajrXwW5O_w7v-tzjwf2Qw&amp;ust=1466853098725891" TargetMode="External"/><Relationship Id="rId7" Type="http://schemas.openxmlformats.org/officeDocument/2006/relationships/hyperlink" Target="https://www.google.at/url?sa=i&amp;rct=j&amp;q=&amp;esrc=s&amp;source=images&amp;cd=&amp;cad=rja&amp;uact=8&amp;ved=0ahUKEwiiuvORx83NAhWK7RQKHblyA5IQjRwIBw&amp;url=https://www.eru.cz/en/&amp;bvm=bv.125801520,d.d24&amp;psig=AFQjCNHk3xbQEFqcPq3alRhEiCAT25O9Ug&amp;ust=1467300682600819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hyperlink" Target="http://www.google.at/url?sa=i&amp;rct=j&amp;q=&amp;esrc=s&amp;source=images&amp;cd=&amp;cad=rja&amp;uact=8&amp;ved=0ahUKEwiMidz5xs3NAhUFuxQKHdQnBD8QjRwIBw&amp;url=http://www.borealis.ca/case-studies/net4gas&amp;psig=AFQjCNHb7mNPyYv2VWhamsHmjuObkrL7Ow&amp;ust=1467300632020294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10.jpeg"/><Relationship Id="rId9" Type="http://schemas.openxmlformats.org/officeDocument/2006/relationships/hyperlink" Target="https://www.google.at/url?sa=i&amp;rct=j&amp;q=&amp;esrc=s&amp;source=images&amp;cd=&amp;cad=rja&amp;uact=8&amp;ved=0ahUKEwjw2P3Bx83NAhXLbRQKHQuADBcQjRwIBw&amp;url=https://www.linkedin.com/company/trans-austria-gasleitung-gmbh&amp;bvm=bv.125801520,d.d24&amp;psig=AFQjCNEFkJ8g8foMJpLQxSInlIDAIOCKrw&amp;ust=1467300782978911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.emf"/><Relationship Id="rId5" Type="http://schemas.openxmlformats.org/officeDocument/2006/relationships/image" Target="../media/image20.jpe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1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7.06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5556" y="2499742"/>
            <a:ext cx="7992888" cy="1368152"/>
          </a:xfrm>
        </p:spPr>
        <p:txBody>
          <a:bodyPr/>
          <a:lstStyle/>
          <a:p>
            <a:pPr algn="ctr"/>
            <a:r>
              <a:rPr lang="en-US" dirty="0"/>
              <a:t>Market integration in the CEE countries</a:t>
            </a:r>
            <a:br>
              <a:rPr lang="en-US" dirty="0"/>
            </a:br>
            <a:r>
              <a:rPr lang="en-US" dirty="0"/>
              <a:t>Czech – Austrian trading region</a:t>
            </a:r>
            <a:br>
              <a:rPr lang="en-US" dirty="0"/>
            </a:br>
            <a:br>
              <a:rPr lang="de-AT" altLang="de-DE" sz="800" dirty="0"/>
            </a:br>
            <a:br>
              <a:rPr lang="de-DE" dirty="0"/>
            </a:br>
            <a:r>
              <a:rPr lang="de-DE" dirty="0"/>
              <a:t>GRI SSE  Prag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93FD2A-AEF6-473A-BF00-A64A9F599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TRU Pilot Phas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EC6DFB2-C362-44FC-8876-E7FCC3D4D5B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847" y="1058864"/>
            <a:ext cx="8496303" cy="4084636"/>
          </a:xfrm>
        </p:spPr>
        <p:txBody>
          <a:bodyPr>
            <a:normAutofit fontScale="92500" lnSpcReduction="10000"/>
          </a:bodyPr>
          <a:lstStyle/>
          <a:p>
            <a:r>
              <a:rPr lang="en-GB" sz="2400" b="1" dirty="0"/>
              <a:t>Cost of the option:</a:t>
            </a:r>
          </a:p>
          <a:p>
            <a:r>
              <a:rPr lang="en-GB" sz="2400" dirty="0"/>
              <a:t>	From VTP Austria to VTP Czech Republic </a:t>
            </a:r>
          </a:p>
          <a:p>
            <a:pPr lvl="5"/>
            <a:r>
              <a:rPr lang="en-GB" b="1" dirty="0"/>
              <a:t>7.27 Euro / kWh / h </a:t>
            </a:r>
            <a:r>
              <a:rPr lang="en-GB" dirty="0"/>
              <a:t>per year (GSNE VO §3 8a)* </a:t>
            </a:r>
          </a:p>
          <a:p>
            <a:r>
              <a:rPr lang="en-GB" dirty="0"/>
              <a:t>	</a:t>
            </a:r>
            <a:r>
              <a:rPr lang="en-GB" sz="2400" dirty="0"/>
              <a:t>From VTP Czech Republic to VTP Austria</a:t>
            </a:r>
          </a:p>
          <a:p>
            <a:pPr lvl="5"/>
            <a:r>
              <a:rPr lang="en-GB" dirty="0"/>
              <a:t> </a:t>
            </a:r>
            <a:r>
              <a:rPr lang="en-GB" b="1" dirty="0"/>
              <a:t>3,6 Euro / kWh / h </a:t>
            </a:r>
            <a:r>
              <a:rPr lang="en-GB" dirty="0"/>
              <a:t>per year (</a:t>
            </a:r>
            <a:r>
              <a:rPr lang="de-DE" dirty="0"/>
              <a:t>ERV 7/2017)</a:t>
            </a:r>
            <a:r>
              <a:rPr lang="en-GB" dirty="0"/>
              <a:t> ** </a:t>
            </a:r>
          </a:p>
          <a:p>
            <a:endParaRPr lang="en-GB" sz="800" dirty="0">
              <a:hlinkClick r:id="rId2"/>
            </a:endParaRPr>
          </a:p>
          <a:p>
            <a:r>
              <a:rPr lang="en-GB" sz="2400" b="1" dirty="0"/>
              <a:t>Quantity for 1 year: </a:t>
            </a:r>
            <a:r>
              <a:rPr lang="en-GB" sz="2400" dirty="0"/>
              <a:t>	Up to </a:t>
            </a:r>
            <a:r>
              <a:rPr lang="en-GB" sz="2400" u="sng" dirty="0"/>
              <a:t>10.000 Nm3/h </a:t>
            </a:r>
            <a:r>
              <a:rPr lang="en-GB" sz="2400" dirty="0"/>
              <a:t>in both directions</a:t>
            </a:r>
          </a:p>
          <a:p>
            <a:r>
              <a:rPr lang="en-GB" sz="2400" b="1" dirty="0"/>
              <a:t>Start of the services: </a:t>
            </a:r>
            <a:r>
              <a:rPr lang="en-GB" sz="2400" dirty="0"/>
              <a:t>	1 October 2018  </a:t>
            </a:r>
          </a:p>
          <a:p>
            <a:r>
              <a:rPr lang="en-GB" sz="2400" b="1" dirty="0"/>
              <a:t>Services:</a:t>
            </a:r>
            <a:r>
              <a:rPr lang="en-GB" sz="2400" dirty="0"/>
              <a:t>		 yearly product </a:t>
            </a:r>
          </a:p>
          <a:p>
            <a:r>
              <a:rPr lang="en-GB" sz="2500" b="1" dirty="0"/>
              <a:t>Auction:</a:t>
            </a:r>
            <a:r>
              <a:rPr lang="en-GB" sz="2500" dirty="0"/>
              <a:t>		</a:t>
            </a:r>
            <a:r>
              <a:rPr lang="en-GB" sz="2400" dirty="0"/>
              <a:t>2 July 2018 as uniform Price Auction on the web portal 			of  GCA and N4G</a:t>
            </a:r>
          </a:p>
          <a:p>
            <a:endParaRPr lang="en-US" sz="800" dirty="0">
              <a:hlinkClick r:id="rId2"/>
            </a:endParaRPr>
          </a:p>
          <a:p>
            <a:r>
              <a:rPr lang="en-US" sz="800" dirty="0">
                <a:hlinkClick r:id="rId2"/>
              </a:rPr>
              <a:t>* https://www.e-control.at/documents/20903/388512/GSNE-VO+2013+konsolidierte+Fassung+15092017+clean.pdf/6b7011da-7506-bd1d-08b0-a6923fe79248</a:t>
            </a:r>
          </a:p>
          <a:p>
            <a:r>
              <a:rPr lang="en-US" sz="800" dirty="0">
                <a:hlinkClick r:id="rId2"/>
              </a:rPr>
              <a:t>** http://www.eru.cz/-/energeticky-regulacni-vestnik-7-2017</a:t>
            </a:r>
          </a:p>
          <a:p>
            <a:endParaRPr lang="en-US" dirty="0">
              <a:hlinkClick r:id="rId2"/>
            </a:endParaRP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C78F8DE-AC1A-40E3-A0CD-3A07D8CD165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FCB7CFF-DC9F-49FE-A60A-A11E4EF357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3779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810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alessandro.ischia@e-control.a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DCD7E5-DF14-4C2B-8694-3409899A71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Market integration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9606D6-0ED9-4C28-87A1-80BB17EEEC5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CFE0170-34B9-487A-BCDA-98D6707194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1F38764B-9000-499A-94A9-4E17E99DE7FF}"/>
              </a:ext>
            </a:extLst>
          </p:cNvPr>
          <p:cNvSpPr txBox="1">
            <a:spLocks/>
          </p:cNvSpPr>
          <p:nvPr/>
        </p:nvSpPr>
        <p:spPr>
          <a:xfrm>
            <a:off x="6553200" y="4595888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F86687-BCEF-4555-A441-4DAADF8D100C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grpSp>
        <p:nvGrpSpPr>
          <p:cNvPr id="9" name="Gruppierung 1">
            <a:extLst>
              <a:ext uri="{FF2B5EF4-FFF2-40B4-BE49-F238E27FC236}">
                <a16:creationId xmlns:a16="http://schemas.microsoft.com/office/drawing/2014/main" id="{EB5204F1-3261-41C5-9D97-A38521AD0A48}"/>
              </a:ext>
            </a:extLst>
          </p:cNvPr>
          <p:cNvGrpSpPr/>
          <p:nvPr/>
        </p:nvGrpSpPr>
        <p:grpSpPr>
          <a:xfrm>
            <a:off x="12250" y="1715009"/>
            <a:ext cx="4574211" cy="3243029"/>
            <a:chOff x="3781425" y="3570288"/>
            <a:chExt cx="3163888" cy="2243137"/>
          </a:xfrm>
        </p:grpSpPr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67B48334-5570-4F8F-990B-8E4B23CF3D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84637" y="4457700"/>
              <a:ext cx="911225" cy="839787"/>
            </a:xfrm>
            <a:custGeom>
              <a:avLst/>
              <a:gdLst>
                <a:gd name="T0" fmla="*/ 2137 w 548"/>
                <a:gd name="T1" fmla="*/ 1240 h 542"/>
                <a:gd name="T2" fmla="*/ 2099 w 548"/>
                <a:gd name="T3" fmla="*/ 1402 h 542"/>
                <a:gd name="T4" fmla="*/ 2053 w 548"/>
                <a:gd name="T5" fmla="*/ 1360 h 542"/>
                <a:gd name="T6" fmla="*/ 2005 w 548"/>
                <a:gd name="T7" fmla="*/ 1329 h 542"/>
                <a:gd name="T8" fmla="*/ 1997 w 548"/>
                <a:gd name="T9" fmla="*/ 1297 h 542"/>
                <a:gd name="T10" fmla="*/ 2053 w 548"/>
                <a:gd name="T11" fmla="*/ 1231 h 542"/>
                <a:gd name="T12" fmla="*/ 2114 w 548"/>
                <a:gd name="T13" fmla="*/ 1217 h 542"/>
                <a:gd name="T14" fmla="*/ 428 w 548"/>
                <a:gd name="T15" fmla="*/ 1135 h 542"/>
                <a:gd name="T16" fmla="*/ 535 w 548"/>
                <a:gd name="T17" fmla="*/ 941 h 542"/>
                <a:gd name="T18" fmla="*/ 581 w 548"/>
                <a:gd name="T19" fmla="*/ 863 h 542"/>
                <a:gd name="T20" fmla="*/ 535 w 548"/>
                <a:gd name="T21" fmla="*/ 808 h 542"/>
                <a:gd name="T22" fmla="*/ 510 w 548"/>
                <a:gd name="T23" fmla="*/ 704 h 542"/>
                <a:gd name="T24" fmla="*/ 400 w 548"/>
                <a:gd name="T25" fmla="*/ 601 h 542"/>
                <a:gd name="T26" fmla="*/ 320 w 548"/>
                <a:gd name="T27" fmla="*/ 531 h 542"/>
                <a:gd name="T28" fmla="*/ 138 w 548"/>
                <a:gd name="T29" fmla="*/ 503 h 542"/>
                <a:gd name="T30" fmla="*/ 16 w 548"/>
                <a:gd name="T31" fmla="*/ 465 h 542"/>
                <a:gd name="T32" fmla="*/ 56 w 548"/>
                <a:gd name="T33" fmla="*/ 424 h 542"/>
                <a:gd name="T34" fmla="*/ 0 w 548"/>
                <a:gd name="T35" fmla="*/ 387 h 542"/>
                <a:gd name="T36" fmla="*/ 134 w 548"/>
                <a:gd name="T37" fmla="*/ 374 h 542"/>
                <a:gd name="T38" fmla="*/ 249 w 548"/>
                <a:gd name="T39" fmla="*/ 343 h 542"/>
                <a:gd name="T40" fmla="*/ 382 w 548"/>
                <a:gd name="T41" fmla="*/ 383 h 542"/>
                <a:gd name="T42" fmla="*/ 502 w 548"/>
                <a:gd name="T43" fmla="*/ 366 h 542"/>
                <a:gd name="T44" fmla="*/ 473 w 548"/>
                <a:gd name="T45" fmla="*/ 288 h 542"/>
                <a:gd name="T46" fmla="*/ 525 w 548"/>
                <a:gd name="T47" fmla="*/ 243 h 542"/>
                <a:gd name="T48" fmla="*/ 689 w 548"/>
                <a:gd name="T49" fmla="*/ 281 h 542"/>
                <a:gd name="T50" fmla="*/ 746 w 548"/>
                <a:gd name="T51" fmla="*/ 217 h 542"/>
                <a:gd name="T52" fmla="*/ 950 w 548"/>
                <a:gd name="T53" fmla="*/ 134 h 542"/>
                <a:gd name="T54" fmla="*/ 1083 w 548"/>
                <a:gd name="T55" fmla="*/ 2 h 542"/>
                <a:gd name="T56" fmla="*/ 1160 w 548"/>
                <a:gd name="T57" fmla="*/ 56 h 542"/>
                <a:gd name="T58" fmla="*/ 1260 w 548"/>
                <a:gd name="T59" fmla="*/ 91 h 542"/>
                <a:gd name="T60" fmla="*/ 1340 w 548"/>
                <a:gd name="T61" fmla="*/ 151 h 542"/>
                <a:gd name="T62" fmla="*/ 1417 w 548"/>
                <a:gd name="T63" fmla="*/ 177 h 542"/>
                <a:gd name="T64" fmla="*/ 1450 w 548"/>
                <a:gd name="T65" fmla="*/ 200 h 542"/>
                <a:gd name="T66" fmla="*/ 1591 w 548"/>
                <a:gd name="T67" fmla="*/ 240 h 542"/>
                <a:gd name="T68" fmla="*/ 1717 w 548"/>
                <a:gd name="T69" fmla="*/ 273 h 542"/>
                <a:gd name="T70" fmla="*/ 1819 w 548"/>
                <a:gd name="T71" fmla="*/ 296 h 542"/>
                <a:gd name="T72" fmla="*/ 1943 w 548"/>
                <a:gd name="T73" fmla="*/ 327 h 542"/>
                <a:gd name="T74" fmla="*/ 1849 w 548"/>
                <a:gd name="T75" fmla="*/ 462 h 542"/>
                <a:gd name="T76" fmla="*/ 1783 w 548"/>
                <a:gd name="T77" fmla="*/ 549 h 542"/>
                <a:gd name="T78" fmla="*/ 1760 w 548"/>
                <a:gd name="T79" fmla="*/ 569 h 542"/>
                <a:gd name="T80" fmla="*/ 1674 w 548"/>
                <a:gd name="T81" fmla="*/ 647 h 542"/>
                <a:gd name="T82" fmla="*/ 1612 w 548"/>
                <a:gd name="T83" fmla="*/ 735 h 542"/>
                <a:gd name="T84" fmla="*/ 1760 w 548"/>
                <a:gd name="T85" fmla="*/ 770 h 542"/>
                <a:gd name="T86" fmla="*/ 1769 w 548"/>
                <a:gd name="T87" fmla="*/ 859 h 542"/>
                <a:gd name="T88" fmla="*/ 1760 w 548"/>
                <a:gd name="T89" fmla="*/ 921 h 542"/>
                <a:gd name="T90" fmla="*/ 1803 w 548"/>
                <a:gd name="T91" fmla="*/ 1019 h 542"/>
                <a:gd name="T92" fmla="*/ 1819 w 548"/>
                <a:gd name="T93" fmla="*/ 1086 h 542"/>
                <a:gd name="T94" fmla="*/ 1591 w 548"/>
                <a:gd name="T95" fmla="*/ 1179 h 542"/>
                <a:gd name="T96" fmla="*/ 1436 w 548"/>
                <a:gd name="T97" fmla="*/ 1133 h 542"/>
                <a:gd name="T98" fmla="*/ 1238 w 548"/>
                <a:gd name="T99" fmla="*/ 1135 h 542"/>
                <a:gd name="T100" fmla="*/ 1184 w 548"/>
                <a:gd name="T101" fmla="*/ 1265 h 542"/>
                <a:gd name="T102" fmla="*/ 1041 w 548"/>
                <a:gd name="T103" fmla="*/ 1263 h 542"/>
                <a:gd name="T104" fmla="*/ 963 w 548"/>
                <a:gd name="T105" fmla="*/ 1256 h 542"/>
                <a:gd name="T106" fmla="*/ 829 w 548"/>
                <a:gd name="T107" fmla="*/ 1209 h 542"/>
                <a:gd name="T108" fmla="*/ 746 w 548"/>
                <a:gd name="T109" fmla="*/ 1225 h 542"/>
                <a:gd name="T110" fmla="*/ 649 w 548"/>
                <a:gd name="T111" fmla="*/ 1209 h 542"/>
                <a:gd name="T112" fmla="*/ 510 w 548"/>
                <a:gd name="T113" fmla="*/ 1174 h 542"/>
                <a:gd name="T114" fmla="*/ 493 w 548"/>
                <a:gd name="T115" fmla="*/ 1146 h 54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48"/>
                <a:gd name="T175" fmla="*/ 0 h 542"/>
                <a:gd name="T176" fmla="*/ 548 w 548"/>
                <a:gd name="T177" fmla="*/ 542 h 54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48" h="542">
                  <a:moveTo>
                    <a:pt x="542" y="456"/>
                  </a:moveTo>
                  <a:lnTo>
                    <a:pt x="544" y="460"/>
                  </a:lnTo>
                  <a:lnTo>
                    <a:pt x="546" y="468"/>
                  </a:lnTo>
                  <a:lnTo>
                    <a:pt x="544" y="478"/>
                  </a:lnTo>
                  <a:lnTo>
                    <a:pt x="546" y="480"/>
                  </a:lnTo>
                  <a:lnTo>
                    <a:pt x="548" y="488"/>
                  </a:lnTo>
                  <a:lnTo>
                    <a:pt x="546" y="506"/>
                  </a:lnTo>
                  <a:lnTo>
                    <a:pt x="542" y="514"/>
                  </a:lnTo>
                  <a:lnTo>
                    <a:pt x="540" y="530"/>
                  </a:lnTo>
                  <a:lnTo>
                    <a:pt x="536" y="542"/>
                  </a:lnTo>
                  <a:lnTo>
                    <a:pt x="530" y="540"/>
                  </a:lnTo>
                  <a:lnTo>
                    <a:pt x="530" y="536"/>
                  </a:lnTo>
                  <a:lnTo>
                    <a:pt x="522" y="534"/>
                  </a:lnTo>
                  <a:lnTo>
                    <a:pt x="518" y="530"/>
                  </a:lnTo>
                  <a:lnTo>
                    <a:pt x="524" y="526"/>
                  </a:lnTo>
                  <a:lnTo>
                    <a:pt x="522" y="524"/>
                  </a:lnTo>
                  <a:lnTo>
                    <a:pt x="514" y="522"/>
                  </a:lnTo>
                  <a:lnTo>
                    <a:pt x="518" y="514"/>
                  </a:lnTo>
                  <a:lnTo>
                    <a:pt x="516" y="512"/>
                  </a:lnTo>
                  <a:lnTo>
                    <a:pt x="512" y="514"/>
                  </a:lnTo>
                  <a:lnTo>
                    <a:pt x="512" y="510"/>
                  </a:lnTo>
                  <a:lnTo>
                    <a:pt x="516" y="506"/>
                  </a:lnTo>
                  <a:lnTo>
                    <a:pt x="514" y="504"/>
                  </a:lnTo>
                  <a:lnTo>
                    <a:pt x="510" y="502"/>
                  </a:lnTo>
                  <a:lnTo>
                    <a:pt x="510" y="498"/>
                  </a:lnTo>
                  <a:lnTo>
                    <a:pt x="514" y="494"/>
                  </a:lnTo>
                  <a:lnTo>
                    <a:pt x="510" y="490"/>
                  </a:lnTo>
                  <a:lnTo>
                    <a:pt x="514" y="482"/>
                  </a:lnTo>
                  <a:lnTo>
                    <a:pt x="524" y="476"/>
                  </a:lnTo>
                  <a:lnTo>
                    <a:pt x="528" y="476"/>
                  </a:lnTo>
                  <a:lnTo>
                    <a:pt x="530" y="472"/>
                  </a:lnTo>
                  <a:lnTo>
                    <a:pt x="534" y="472"/>
                  </a:lnTo>
                  <a:lnTo>
                    <a:pt x="538" y="474"/>
                  </a:lnTo>
                  <a:lnTo>
                    <a:pt x="540" y="470"/>
                  </a:lnTo>
                  <a:lnTo>
                    <a:pt x="538" y="462"/>
                  </a:lnTo>
                  <a:lnTo>
                    <a:pt x="540" y="456"/>
                  </a:lnTo>
                  <a:lnTo>
                    <a:pt x="542" y="456"/>
                  </a:lnTo>
                  <a:close/>
                  <a:moveTo>
                    <a:pt x="110" y="440"/>
                  </a:moveTo>
                  <a:lnTo>
                    <a:pt x="116" y="438"/>
                  </a:lnTo>
                  <a:lnTo>
                    <a:pt x="124" y="428"/>
                  </a:lnTo>
                  <a:lnTo>
                    <a:pt x="132" y="372"/>
                  </a:lnTo>
                  <a:lnTo>
                    <a:pt x="140" y="372"/>
                  </a:lnTo>
                  <a:lnTo>
                    <a:pt x="136" y="364"/>
                  </a:lnTo>
                  <a:lnTo>
                    <a:pt x="132" y="370"/>
                  </a:lnTo>
                  <a:lnTo>
                    <a:pt x="134" y="342"/>
                  </a:lnTo>
                  <a:lnTo>
                    <a:pt x="138" y="322"/>
                  </a:lnTo>
                  <a:lnTo>
                    <a:pt x="140" y="326"/>
                  </a:lnTo>
                  <a:lnTo>
                    <a:pt x="148" y="334"/>
                  </a:lnTo>
                  <a:lnTo>
                    <a:pt x="152" y="342"/>
                  </a:lnTo>
                  <a:lnTo>
                    <a:pt x="156" y="348"/>
                  </a:lnTo>
                  <a:lnTo>
                    <a:pt x="150" y="332"/>
                  </a:lnTo>
                  <a:lnTo>
                    <a:pt x="140" y="318"/>
                  </a:lnTo>
                  <a:lnTo>
                    <a:pt x="136" y="312"/>
                  </a:lnTo>
                  <a:lnTo>
                    <a:pt x="136" y="306"/>
                  </a:lnTo>
                  <a:lnTo>
                    <a:pt x="142" y="294"/>
                  </a:lnTo>
                  <a:lnTo>
                    <a:pt x="138" y="284"/>
                  </a:lnTo>
                  <a:lnTo>
                    <a:pt x="136" y="278"/>
                  </a:lnTo>
                  <a:lnTo>
                    <a:pt x="130" y="272"/>
                  </a:lnTo>
                  <a:lnTo>
                    <a:pt x="118" y="270"/>
                  </a:lnTo>
                  <a:lnTo>
                    <a:pt x="108" y="256"/>
                  </a:lnTo>
                  <a:lnTo>
                    <a:pt x="102" y="248"/>
                  </a:lnTo>
                  <a:lnTo>
                    <a:pt x="106" y="236"/>
                  </a:lnTo>
                  <a:lnTo>
                    <a:pt x="102" y="232"/>
                  </a:lnTo>
                  <a:lnTo>
                    <a:pt x="96" y="228"/>
                  </a:lnTo>
                  <a:lnTo>
                    <a:pt x="88" y="226"/>
                  </a:lnTo>
                  <a:lnTo>
                    <a:pt x="84" y="220"/>
                  </a:lnTo>
                  <a:lnTo>
                    <a:pt x="88" y="210"/>
                  </a:lnTo>
                  <a:lnTo>
                    <a:pt x="82" y="206"/>
                  </a:lnTo>
                  <a:lnTo>
                    <a:pt x="74" y="212"/>
                  </a:lnTo>
                  <a:lnTo>
                    <a:pt x="66" y="204"/>
                  </a:lnTo>
                  <a:lnTo>
                    <a:pt x="52" y="198"/>
                  </a:lnTo>
                  <a:lnTo>
                    <a:pt x="40" y="194"/>
                  </a:lnTo>
                  <a:lnTo>
                    <a:pt x="36" y="194"/>
                  </a:lnTo>
                  <a:lnTo>
                    <a:pt x="32" y="188"/>
                  </a:lnTo>
                  <a:lnTo>
                    <a:pt x="16" y="192"/>
                  </a:lnTo>
                  <a:lnTo>
                    <a:pt x="14" y="186"/>
                  </a:lnTo>
                  <a:lnTo>
                    <a:pt x="10" y="182"/>
                  </a:lnTo>
                  <a:lnTo>
                    <a:pt x="4" y="180"/>
                  </a:lnTo>
                  <a:lnTo>
                    <a:pt x="2" y="178"/>
                  </a:lnTo>
                  <a:lnTo>
                    <a:pt x="18" y="176"/>
                  </a:lnTo>
                  <a:lnTo>
                    <a:pt x="16" y="170"/>
                  </a:lnTo>
                  <a:lnTo>
                    <a:pt x="6" y="168"/>
                  </a:lnTo>
                  <a:lnTo>
                    <a:pt x="14" y="164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6" y="160"/>
                  </a:lnTo>
                  <a:lnTo>
                    <a:pt x="0" y="162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10" y="146"/>
                  </a:lnTo>
                  <a:lnTo>
                    <a:pt x="20" y="144"/>
                  </a:lnTo>
                  <a:lnTo>
                    <a:pt x="30" y="140"/>
                  </a:lnTo>
                  <a:lnTo>
                    <a:pt x="34" y="144"/>
                  </a:lnTo>
                  <a:lnTo>
                    <a:pt x="36" y="140"/>
                  </a:lnTo>
                  <a:lnTo>
                    <a:pt x="44" y="14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64" y="132"/>
                  </a:lnTo>
                  <a:lnTo>
                    <a:pt x="72" y="142"/>
                  </a:lnTo>
                  <a:lnTo>
                    <a:pt x="76" y="148"/>
                  </a:lnTo>
                  <a:lnTo>
                    <a:pt x="82" y="150"/>
                  </a:lnTo>
                  <a:lnTo>
                    <a:pt x="94" y="144"/>
                  </a:lnTo>
                  <a:lnTo>
                    <a:pt x="98" y="148"/>
                  </a:lnTo>
                  <a:lnTo>
                    <a:pt x="104" y="144"/>
                  </a:lnTo>
                  <a:lnTo>
                    <a:pt x="112" y="142"/>
                  </a:lnTo>
                  <a:lnTo>
                    <a:pt x="112" y="146"/>
                  </a:lnTo>
                  <a:lnTo>
                    <a:pt x="122" y="144"/>
                  </a:lnTo>
                  <a:lnTo>
                    <a:pt x="128" y="142"/>
                  </a:lnTo>
                  <a:lnTo>
                    <a:pt x="122" y="138"/>
                  </a:lnTo>
                  <a:lnTo>
                    <a:pt x="122" y="132"/>
                  </a:lnTo>
                  <a:lnTo>
                    <a:pt x="124" y="122"/>
                  </a:lnTo>
                  <a:lnTo>
                    <a:pt x="122" y="110"/>
                  </a:lnTo>
                  <a:lnTo>
                    <a:pt x="120" y="112"/>
                  </a:lnTo>
                  <a:lnTo>
                    <a:pt x="110" y="94"/>
                  </a:lnTo>
                  <a:lnTo>
                    <a:pt x="108" y="82"/>
                  </a:lnTo>
                  <a:lnTo>
                    <a:pt x="124" y="86"/>
                  </a:lnTo>
                  <a:lnTo>
                    <a:pt x="136" y="84"/>
                  </a:lnTo>
                  <a:lnTo>
                    <a:pt x="134" y="94"/>
                  </a:lnTo>
                  <a:lnTo>
                    <a:pt x="138" y="104"/>
                  </a:lnTo>
                  <a:lnTo>
                    <a:pt x="144" y="100"/>
                  </a:lnTo>
                  <a:lnTo>
                    <a:pt x="166" y="104"/>
                  </a:lnTo>
                  <a:lnTo>
                    <a:pt x="174" y="108"/>
                  </a:lnTo>
                  <a:lnTo>
                    <a:pt x="176" y="108"/>
                  </a:lnTo>
                  <a:lnTo>
                    <a:pt x="184" y="104"/>
                  </a:lnTo>
                  <a:lnTo>
                    <a:pt x="196" y="98"/>
                  </a:lnTo>
                  <a:lnTo>
                    <a:pt x="186" y="94"/>
                  </a:lnTo>
                  <a:lnTo>
                    <a:pt x="188" y="88"/>
                  </a:lnTo>
                  <a:lnTo>
                    <a:pt x="190" y="84"/>
                  </a:lnTo>
                  <a:lnTo>
                    <a:pt x="204" y="76"/>
                  </a:lnTo>
                  <a:lnTo>
                    <a:pt x="216" y="70"/>
                  </a:lnTo>
                  <a:lnTo>
                    <a:pt x="232" y="64"/>
                  </a:lnTo>
                  <a:lnTo>
                    <a:pt x="238" y="58"/>
                  </a:lnTo>
                  <a:lnTo>
                    <a:pt x="242" y="52"/>
                  </a:lnTo>
                  <a:lnTo>
                    <a:pt x="242" y="30"/>
                  </a:lnTo>
                  <a:lnTo>
                    <a:pt x="244" y="16"/>
                  </a:lnTo>
                  <a:lnTo>
                    <a:pt x="254" y="8"/>
                  </a:lnTo>
                  <a:lnTo>
                    <a:pt x="260" y="4"/>
                  </a:lnTo>
                  <a:lnTo>
                    <a:pt x="276" y="2"/>
                  </a:lnTo>
                  <a:lnTo>
                    <a:pt x="280" y="0"/>
                  </a:lnTo>
                  <a:lnTo>
                    <a:pt x="284" y="12"/>
                  </a:lnTo>
                  <a:lnTo>
                    <a:pt x="288" y="20"/>
                  </a:lnTo>
                  <a:lnTo>
                    <a:pt x="294" y="24"/>
                  </a:lnTo>
                  <a:lnTo>
                    <a:pt x="296" y="22"/>
                  </a:lnTo>
                  <a:lnTo>
                    <a:pt x="304" y="16"/>
                  </a:lnTo>
                  <a:lnTo>
                    <a:pt x="306" y="22"/>
                  </a:lnTo>
                  <a:lnTo>
                    <a:pt x="310" y="34"/>
                  </a:lnTo>
                  <a:lnTo>
                    <a:pt x="312" y="36"/>
                  </a:lnTo>
                  <a:lnTo>
                    <a:pt x="322" y="36"/>
                  </a:lnTo>
                  <a:lnTo>
                    <a:pt x="324" y="46"/>
                  </a:lnTo>
                  <a:lnTo>
                    <a:pt x="328" y="44"/>
                  </a:lnTo>
                  <a:lnTo>
                    <a:pt x="338" y="46"/>
                  </a:lnTo>
                  <a:lnTo>
                    <a:pt x="344" y="50"/>
                  </a:lnTo>
                  <a:lnTo>
                    <a:pt x="342" y="58"/>
                  </a:lnTo>
                  <a:lnTo>
                    <a:pt x="344" y="62"/>
                  </a:lnTo>
                  <a:lnTo>
                    <a:pt x="342" y="68"/>
                  </a:lnTo>
                  <a:lnTo>
                    <a:pt x="348" y="70"/>
                  </a:lnTo>
                  <a:lnTo>
                    <a:pt x="354" y="68"/>
                  </a:lnTo>
                  <a:lnTo>
                    <a:pt x="362" y="68"/>
                  </a:lnTo>
                  <a:lnTo>
                    <a:pt x="366" y="60"/>
                  </a:lnTo>
                  <a:lnTo>
                    <a:pt x="370" y="58"/>
                  </a:lnTo>
                  <a:lnTo>
                    <a:pt x="368" y="68"/>
                  </a:lnTo>
                  <a:lnTo>
                    <a:pt x="370" y="72"/>
                  </a:lnTo>
                  <a:lnTo>
                    <a:pt x="370" y="78"/>
                  </a:lnTo>
                  <a:lnTo>
                    <a:pt x="380" y="80"/>
                  </a:lnTo>
                  <a:lnTo>
                    <a:pt x="384" y="84"/>
                  </a:lnTo>
                  <a:lnTo>
                    <a:pt x="392" y="90"/>
                  </a:lnTo>
                  <a:lnTo>
                    <a:pt x="394" y="96"/>
                  </a:lnTo>
                  <a:lnTo>
                    <a:pt x="406" y="92"/>
                  </a:lnTo>
                  <a:lnTo>
                    <a:pt x="406" y="94"/>
                  </a:lnTo>
                  <a:lnTo>
                    <a:pt x="418" y="96"/>
                  </a:lnTo>
                  <a:lnTo>
                    <a:pt x="428" y="96"/>
                  </a:lnTo>
                  <a:lnTo>
                    <a:pt x="430" y="98"/>
                  </a:lnTo>
                  <a:lnTo>
                    <a:pt x="438" y="106"/>
                  </a:lnTo>
                  <a:lnTo>
                    <a:pt x="444" y="114"/>
                  </a:lnTo>
                  <a:lnTo>
                    <a:pt x="450" y="112"/>
                  </a:lnTo>
                  <a:lnTo>
                    <a:pt x="452" y="116"/>
                  </a:lnTo>
                  <a:lnTo>
                    <a:pt x="464" y="114"/>
                  </a:lnTo>
                  <a:lnTo>
                    <a:pt x="468" y="114"/>
                  </a:lnTo>
                  <a:lnTo>
                    <a:pt x="470" y="118"/>
                  </a:lnTo>
                  <a:lnTo>
                    <a:pt x="478" y="120"/>
                  </a:lnTo>
                  <a:lnTo>
                    <a:pt x="486" y="120"/>
                  </a:lnTo>
                  <a:lnTo>
                    <a:pt x="496" y="126"/>
                  </a:lnTo>
                  <a:lnTo>
                    <a:pt x="480" y="146"/>
                  </a:lnTo>
                  <a:lnTo>
                    <a:pt x="478" y="152"/>
                  </a:lnTo>
                  <a:lnTo>
                    <a:pt x="478" y="162"/>
                  </a:lnTo>
                  <a:lnTo>
                    <a:pt x="472" y="170"/>
                  </a:lnTo>
                  <a:lnTo>
                    <a:pt x="472" y="178"/>
                  </a:lnTo>
                  <a:lnTo>
                    <a:pt x="472" y="180"/>
                  </a:lnTo>
                  <a:lnTo>
                    <a:pt x="468" y="198"/>
                  </a:lnTo>
                  <a:lnTo>
                    <a:pt x="472" y="204"/>
                  </a:lnTo>
                  <a:lnTo>
                    <a:pt x="464" y="212"/>
                  </a:lnTo>
                  <a:lnTo>
                    <a:pt x="456" y="212"/>
                  </a:lnTo>
                  <a:lnTo>
                    <a:pt x="456" y="210"/>
                  </a:lnTo>
                  <a:lnTo>
                    <a:pt x="450" y="210"/>
                  </a:lnTo>
                  <a:lnTo>
                    <a:pt x="446" y="218"/>
                  </a:lnTo>
                  <a:lnTo>
                    <a:pt x="448" y="218"/>
                  </a:lnTo>
                  <a:lnTo>
                    <a:pt x="450" y="220"/>
                  </a:lnTo>
                  <a:lnTo>
                    <a:pt x="446" y="222"/>
                  </a:lnTo>
                  <a:lnTo>
                    <a:pt x="438" y="234"/>
                  </a:lnTo>
                  <a:lnTo>
                    <a:pt x="438" y="236"/>
                  </a:lnTo>
                  <a:lnTo>
                    <a:pt x="428" y="242"/>
                  </a:lnTo>
                  <a:lnTo>
                    <a:pt x="428" y="250"/>
                  </a:lnTo>
                  <a:lnTo>
                    <a:pt x="416" y="260"/>
                  </a:lnTo>
                  <a:lnTo>
                    <a:pt x="414" y="268"/>
                  </a:lnTo>
                  <a:lnTo>
                    <a:pt x="416" y="272"/>
                  </a:lnTo>
                  <a:lnTo>
                    <a:pt x="416" y="280"/>
                  </a:lnTo>
                  <a:lnTo>
                    <a:pt x="412" y="284"/>
                  </a:lnTo>
                  <a:lnTo>
                    <a:pt x="418" y="288"/>
                  </a:lnTo>
                  <a:lnTo>
                    <a:pt x="432" y="270"/>
                  </a:lnTo>
                  <a:lnTo>
                    <a:pt x="442" y="268"/>
                  </a:lnTo>
                  <a:lnTo>
                    <a:pt x="448" y="288"/>
                  </a:lnTo>
                  <a:lnTo>
                    <a:pt x="450" y="298"/>
                  </a:lnTo>
                  <a:lnTo>
                    <a:pt x="440" y="306"/>
                  </a:lnTo>
                  <a:lnTo>
                    <a:pt x="448" y="314"/>
                  </a:lnTo>
                  <a:lnTo>
                    <a:pt x="450" y="322"/>
                  </a:lnTo>
                  <a:lnTo>
                    <a:pt x="456" y="326"/>
                  </a:lnTo>
                  <a:lnTo>
                    <a:pt x="452" y="332"/>
                  </a:lnTo>
                  <a:lnTo>
                    <a:pt x="444" y="342"/>
                  </a:lnTo>
                  <a:lnTo>
                    <a:pt x="440" y="338"/>
                  </a:lnTo>
                  <a:lnTo>
                    <a:pt x="432" y="344"/>
                  </a:lnTo>
                  <a:lnTo>
                    <a:pt x="440" y="352"/>
                  </a:lnTo>
                  <a:lnTo>
                    <a:pt x="450" y="356"/>
                  </a:lnTo>
                  <a:lnTo>
                    <a:pt x="452" y="364"/>
                  </a:lnTo>
                  <a:lnTo>
                    <a:pt x="450" y="364"/>
                  </a:lnTo>
                  <a:lnTo>
                    <a:pt x="444" y="374"/>
                  </a:lnTo>
                  <a:lnTo>
                    <a:pt x="446" y="384"/>
                  </a:lnTo>
                  <a:lnTo>
                    <a:pt x="460" y="394"/>
                  </a:lnTo>
                  <a:lnTo>
                    <a:pt x="474" y="392"/>
                  </a:lnTo>
                  <a:lnTo>
                    <a:pt x="476" y="398"/>
                  </a:lnTo>
                  <a:lnTo>
                    <a:pt x="474" y="410"/>
                  </a:lnTo>
                  <a:lnTo>
                    <a:pt x="468" y="416"/>
                  </a:lnTo>
                  <a:lnTo>
                    <a:pt x="464" y="420"/>
                  </a:lnTo>
                  <a:lnTo>
                    <a:pt x="450" y="432"/>
                  </a:lnTo>
                  <a:lnTo>
                    <a:pt x="434" y="448"/>
                  </a:lnTo>
                  <a:lnTo>
                    <a:pt x="426" y="450"/>
                  </a:lnTo>
                  <a:lnTo>
                    <a:pt x="420" y="452"/>
                  </a:lnTo>
                  <a:lnTo>
                    <a:pt x="406" y="456"/>
                  </a:lnTo>
                  <a:lnTo>
                    <a:pt x="400" y="454"/>
                  </a:lnTo>
                  <a:lnTo>
                    <a:pt x="392" y="450"/>
                  </a:lnTo>
                  <a:lnTo>
                    <a:pt x="378" y="438"/>
                  </a:lnTo>
                  <a:lnTo>
                    <a:pt x="372" y="436"/>
                  </a:lnTo>
                  <a:lnTo>
                    <a:pt x="366" y="438"/>
                  </a:lnTo>
                  <a:lnTo>
                    <a:pt x="362" y="440"/>
                  </a:lnTo>
                  <a:lnTo>
                    <a:pt x="352" y="438"/>
                  </a:lnTo>
                  <a:lnTo>
                    <a:pt x="340" y="430"/>
                  </a:lnTo>
                  <a:lnTo>
                    <a:pt x="330" y="432"/>
                  </a:lnTo>
                  <a:lnTo>
                    <a:pt x="316" y="440"/>
                  </a:lnTo>
                  <a:lnTo>
                    <a:pt x="310" y="446"/>
                  </a:lnTo>
                  <a:lnTo>
                    <a:pt x="300" y="458"/>
                  </a:lnTo>
                  <a:lnTo>
                    <a:pt x="298" y="468"/>
                  </a:lnTo>
                  <a:lnTo>
                    <a:pt x="300" y="480"/>
                  </a:lnTo>
                  <a:lnTo>
                    <a:pt x="302" y="490"/>
                  </a:lnTo>
                  <a:lnTo>
                    <a:pt x="296" y="486"/>
                  </a:lnTo>
                  <a:lnTo>
                    <a:pt x="282" y="490"/>
                  </a:lnTo>
                  <a:lnTo>
                    <a:pt x="282" y="494"/>
                  </a:lnTo>
                  <a:lnTo>
                    <a:pt x="274" y="492"/>
                  </a:lnTo>
                  <a:lnTo>
                    <a:pt x="266" y="488"/>
                  </a:lnTo>
                  <a:lnTo>
                    <a:pt x="260" y="492"/>
                  </a:lnTo>
                  <a:lnTo>
                    <a:pt x="256" y="492"/>
                  </a:lnTo>
                  <a:lnTo>
                    <a:pt x="254" y="488"/>
                  </a:lnTo>
                  <a:lnTo>
                    <a:pt x="248" y="486"/>
                  </a:lnTo>
                  <a:lnTo>
                    <a:pt x="246" y="486"/>
                  </a:lnTo>
                  <a:lnTo>
                    <a:pt x="238" y="488"/>
                  </a:lnTo>
                  <a:lnTo>
                    <a:pt x="236" y="486"/>
                  </a:lnTo>
                  <a:lnTo>
                    <a:pt x="234" y="480"/>
                  </a:lnTo>
                  <a:lnTo>
                    <a:pt x="234" y="476"/>
                  </a:lnTo>
                  <a:lnTo>
                    <a:pt x="212" y="468"/>
                  </a:lnTo>
                  <a:lnTo>
                    <a:pt x="206" y="468"/>
                  </a:lnTo>
                  <a:lnTo>
                    <a:pt x="206" y="476"/>
                  </a:lnTo>
                  <a:lnTo>
                    <a:pt x="196" y="476"/>
                  </a:lnTo>
                  <a:lnTo>
                    <a:pt x="190" y="476"/>
                  </a:lnTo>
                  <a:lnTo>
                    <a:pt x="190" y="474"/>
                  </a:lnTo>
                  <a:lnTo>
                    <a:pt x="176" y="474"/>
                  </a:lnTo>
                  <a:lnTo>
                    <a:pt x="176" y="472"/>
                  </a:lnTo>
                  <a:lnTo>
                    <a:pt x="174" y="470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0" y="468"/>
                  </a:lnTo>
                  <a:lnTo>
                    <a:pt x="160" y="470"/>
                  </a:lnTo>
                  <a:lnTo>
                    <a:pt x="150" y="460"/>
                  </a:lnTo>
                  <a:lnTo>
                    <a:pt x="148" y="462"/>
                  </a:lnTo>
                  <a:lnTo>
                    <a:pt x="130" y="454"/>
                  </a:lnTo>
                  <a:lnTo>
                    <a:pt x="128" y="456"/>
                  </a:lnTo>
                  <a:lnTo>
                    <a:pt x="124" y="456"/>
                  </a:lnTo>
                  <a:lnTo>
                    <a:pt x="124" y="454"/>
                  </a:lnTo>
                  <a:lnTo>
                    <a:pt x="126" y="448"/>
                  </a:lnTo>
                  <a:lnTo>
                    <a:pt x="126" y="444"/>
                  </a:lnTo>
                  <a:lnTo>
                    <a:pt x="118" y="446"/>
                  </a:lnTo>
                  <a:lnTo>
                    <a:pt x="110" y="44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14">
              <a:extLst>
                <a:ext uri="{FF2B5EF4-FFF2-40B4-BE49-F238E27FC236}">
                  <a16:creationId xmlns:a16="http://schemas.microsoft.com/office/drawing/2014/main" id="{2D9B97AF-D9EE-497C-8880-9CDC1DF1BB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02200" y="3768725"/>
              <a:ext cx="284162" cy="311150"/>
            </a:xfrm>
            <a:custGeom>
              <a:avLst/>
              <a:gdLst>
                <a:gd name="T0" fmla="*/ 48 w 170"/>
                <a:gd name="T1" fmla="*/ 139 h 200"/>
                <a:gd name="T2" fmla="*/ 96 w 170"/>
                <a:gd name="T3" fmla="*/ 120 h 200"/>
                <a:gd name="T4" fmla="*/ 191 w 170"/>
                <a:gd name="T5" fmla="*/ 110 h 200"/>
                <a:gd name="T6" fmla="*/ 279 w 170"/>
                <a:gd name="T7" fmla="*/ 31 h 200"/>
                <a:gd name="T8" fmla="*/ 356 w 170"/>
                <a:gd name="T9" fmla="*/ 21 h 200"/>
                <a:gd name="T10" fmla="*/ 380 w 170"/>
                <a:gd name="T11" fmla="*/ 0 h 200"/>
                <a:gd name="T12" fmla="*/ 368 w 170"/>
                <a:gd name="T13" fmla="*/ 58 h 200"/>
                <a:gd name="T14" fmla="*/ 351 w 170"/>
                <a:gd name="T15" fmla="*/ 110 h 200"/>
                <a:gd name="T16" fmla="*/ 222 w 170"/>
                <a:gd name="T17" fmla="*/ 149 h 200"/>
                <a:gd name="T18" fmla="*/ 167 w 170"/>
                <a:gd name="T19" fmla="*/ 141 h 200"/>
                <a:gd name="T20" fmla="*/ 145 w 170"/>
                <a:gd name="T21" fmla="*/ 141 h 200"/>
                <a:gd name="T22" fmla="*/ 110 w 170"/>
                <a:gd name="T23" fmla="*/ 179 h 200"/>
                <a:gd name="T24" fmla="*/ 74 w 170"/>
                <a:gd name="T25" fmla="*/ 206 h 200"/>
                <a:gd name="T26" fmla="*/ 48 w 170"/>
                <a:gd name="T27" fmla="*/ 206 h 200"/>
                <a:gd name="T28" fmla="*/ 25 w 170"/>
                <a:gd name="T29" fmla="*/ 179 h 200"/>
                <a:gd name="T30" fmla="*/ 588 w 170"/>
                <a:gd name="T31" fmla="*/ 499 h 200"/>
                <a:gd name="T32" fmla="*/ 540 w 170"/>
                <a:gd name="T33" fmla="*/ 475 h 200"/>
                <a:gd name="T34" fmla="*/ 486 w 170"/>
                <a:gd name="T35" fmla="*/ 439 h 200"/>
                <a:gd name="T36" fmla="*/ 492 w 170"/>
                <a:gd name="T37" fmla="*/ 384 h 200"/>
                <a:gd name="T38" fmla="*/ 564 w 170"/>
                <a:gd name="T39" fmla="*/ 384 h 200"/>
                <a:gd name="T40" fmla="*/ 612 w 170"/>
                <a:gd name="T41" fmla="*/ 380 h 200"/>
                <a:gd name="T42" fmla="*/ 634 w 170"/>
                <a:gd name="T43" fmla="*/ 327 h 200"/>
                <a:gd name="T44" fmla="*/ 677 w 170"/>
                <a:gd name="T45" fmla="*/ 380 h 200"/>
                <a:gd name="T46" fmla="*/ 661 w 170"/>
                <a:gd name="T47" fmla="*/ 410 h 200"/>
                <a:gd name="T48" fmla="*/ 668 w 170"/>
                <a:gd name="T49" fmla="*/ 457 h 200"/>
                <a:gd name="T50" fmla="*/ 612 w 170"/>
                <a:gd name="T51" fmla="*/ 508 h 200"/>
                <a:gd name="T52" fmla="*/ 599 w 170"/>
                <a:gd name="T53" fmla="*/ 511 h 200"/>
                <a:gd name="T54" fmla="*/ 96 w 170"/>
                <a:gd name="T55" fmla="*/ 526 h 200"/>
                <a:gd name="T56" fmla="*/ 87 w 170"/>
                <a:gd name="T57" fmla="*/ 490 h 200"/>
                <a:gd name="T58" fmla="*/ 62 w 170"/>
                <a:gd name="T59" fmla="*/ 439 h 200"/>
                <a:gd name="T60" fmla="*/ 25 w 170"/>
                <a:gd name="T61" fmla="*/ 434 h 200"/>
                <a:gd name="T62" fmla="*/ 16 w 170"/>
                <a:gd name="T63" fmla="*/ 389 h 200"/>
                <a:gd name="T64" fmla="*/ 39 w 170"/>
                <a:gd name="T65" fmla="*/ 350 h 200"/>
                <a:gd name="T66" fmla="*/ 16 w 170"/>
                <a:gd name="T67" fmla="*/ 290 h 200"/>
                <a:gd name="T68" fmla="*/ 39 w 170"/>
                <a:gd name="T69" fmla="*/ 239 h 200"/>
                <a:gd name="T70" fmla="*/ 96 w 170"/>
                <a:gd name="T71" fmla="*/ 258 h 200"/>
                <a:gd name="T72" fmla="*/ 145 w 170"/>
                <a:gd name="T73" fmla="*/ 206 h 200"/>
                <a:gd name="T74" fmla="*/ 191 w 170"/>
                <a:gd name="T75" fmla="*/ 239 h 200"/>
                <a:gd name="T76" fmla="*/ 198 w 170"/>
                <a:gd name="T77" fmla="*/ 165 h 200"/>
                <a:gd name="T78" fmla="*/ 332 w 170"/>
                <a:gd name="T79" fmla="*/ 167 h 200"/>
                <a:gd name="T80" fmla="*/ 351 w 170"/>
                <a:gd name="T81" fmla="*/ 242 h 200"/>
                <a:gd name="T82" fmla="*/ 437 w 170"/>
                <a:gd name="T83" fmla="*/ 258 h 200"/>
                <a:gd name="T84" fmla="*/ 375 w 170"/>
                <a:gd name="T85" fmla="*/ 318 h 200"/>
                <a:gd name="T86" fmla="*/ 341 w 170"/>
                <a:gd name="T87" fmla="*/ 298 h 200"/>
                <a:gd name="T88" fmla="*/ 332 w 170"/>
                <a:gd name="T89" fmla="*/ 331 h 200"/>
                <a:gd name="T90" fmla="*/ 302 w 170"/>
                <a:gd name="T91" fmla="*/ 372 h 200"/>
                <a:gd name="T92" fmla="*/ 256 w 170"/>
                <a:gd name="T93" fmla="*/ 395 h 200"/>
                <a:gd name="T94" fmla="*/ 240 w 170"/>
                <a:gd name="T95" fmla="*/ 423 h 200"/>
                <a:gd name="T96" fmla="*/ 222 w 170"/>
                <a:gd name="T97" fmla="*/ 464 h 200"/>
                <a:gd name="T98" fmla="*/ 206 w 170"/>
                <a:gd name="T99" fmla="*/ 508 h 200"/>
                <a:gd name="T100" fmla="*/ 222 w 170"/>
                <a:gd name="T101" fmla="*/ 513 h 2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0"/>
                <a:gd name="T154" fmla="*/ 0 h 200"/>
                <a:gd name="T155" fmla="*/ 170 w 170"/>
                <a:gd name="T156" fmla="*/ 200 h 2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0" h="200">
                  <a:moveTo>
                    <a:pt x="6" y="68"/>
                  </a:moveTo>
                  <a:lnTo>
                    <a:pt x="12" y="52"/>
                  </a:lnTo>
                  <a:lnTo>
                    <a:pt x="18" y="44"/>
                  </a:lnTo>
                  <a:lnTo>
                    <a:pt x="24" y="46"/>
                  </a:lnTo>
                  <a:lnTo>
                    <a:pt x="34" y="44"/>
                  </a:lnTo>
                  <a:lnTo>
                    <a:pt x="48" y="42"/>
                  </a:lnTo>
                  <a:lnTo>
                    <a:pt x="54" y="38"/>
                  </a:lnTo>
                  <a:lnTo>
                    <a:pt x="70" y="12"/>
                  </a:lnTo>
                  <a:lnTo>
                    <a:pt x="86" y="6"/>
                  </a:lnTo>
                  <a:lnTo>
                    <a:pt x="90" y="8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0" y="18"/>
                  </a:lnTo>
                  <a:lnTo>
                    <a:pt x="92" y="22"/>
                  </a:lnTo>
                  <a:lnTo>
                    <a:pt x="94" y="36"/>
                  </a:lnTo>
                  <a:lnTo>
                    <a:pt x="88" y="42"/>
                  </a:lnTo>
                  <a:lnTo>
                    <a:pt x="84" y="54"/>
                  </a:lnTo>
                  <a:lnTo>
                    <a:pt x="56" y="56"/>
                  </a:lnTo>
                  <a:lnTo>
                    <a:pt x="50" y="52"/>
                  </a:lnTo>
                  <a:lnTo>
                    <a:pt x="42" y="54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8" y="68"/>
                  </a:lnTo>
                  <a:lnTo>
                    <a:pt x="24" y="74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2" y="78"/>
                  </a:lnTo>
                  <a:lnTo>
                    <a:pt x="6" y="68"/>
                  </a:lnTo>
                  <a:close/>
                  <a:moveTo>
                    <a:pt x="150" y="194"/>
                  </a:moveTo>
                  <a:lnTo>
                    <a:pt x="148" y="190"/>
                  </a:lnTo>
                  <a:lnTo>
                    <a:pt x="142" y="180"/>
                  </a:lnTo>
                  <a:lnTo>
                    <a:pt x="136" y="180"/>
                  </a:lnTo>
                  <a:lnTo>
                    <a:pt x="124" y="178"/>
                  </a:lnTo>
                  <a:lnTo>
                    <a:pt x="122" y="168"/>
                  </a:lnTo>
                  <a:lnTo>
                    <a:pt x="118" y="148"/>
                  </a:lnTo>
                  <a:lnTo>
                    <a:pt x="124" y="146"/>
                  </a:lnTo>
                  <a:lnTo>
                    <a:pt x="136" y="132"/>
                  </a:lnTo>
                  <a:lnTo>
                    <a:pt x="142" y="146"/>
                  </a:lnTo>
                  <a:lnTo>
                    <a:pt x="150" y="152"/>
                  </a:lnTo>
                  <a:lnTo>
                    <a:pt x="154" y="144"/>
                  </a:lnTo>
                  <a:lnTo>
                    <a:pt x="156" y="126"/>
                  </a:lnTo>
                  <a:lnTo>
                    <a:pt x="160" y="124"/>
                  </a:lnTo>
                  <a:lnTo>
                    <a:pt x="168" y="126"/>
                  </a:lnTo>
                  <a:lnTo>
                    <a:pt x="170" y="144"/>
                  </a:lnTo>
                  <a:lnTo>
                    <a:pt x="168" y="154"/>
                  </a:lnTo>
                  <a:lnTo>
                    <a:pt x="166" y="156"/>
                  </a:lnTo>
                  <a:lnTo>
                    <a:pt x="158" y="166"/>
                  </a:lnTo>
                  <a:lnTo>
                    <a:pt x="168" y="174"/>
                  </a:lnTo>
                  <a:lnTo>
                    <a:pt x="164" y="180"/>
                  </a:lnTo>
                  <a:lnTo>
                    <a:pt x="154" y="192"/>
                  </a:lnTo>
                  <a:lnTo>
                    <a:pt x="150" y="194"/>
                  </a:lnTo>
                  <a:close/>
                  <a:moveTo>
                    <a:pt x="56" y="196"/>
                  </a:moveTo>
                  <a:lnTo>
                    <a:pt x="24" y="200"/>
                  </a:lnTo>
                  <a:lnTo>
                    <a:pt x="22" y="198"/>
                  </a:lnTo>
                  <a:lnTo>
                    <a:pt x="22" y="186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0" y="158"/>
                  </a:lnTo>
                  <a:lnTo>
                    <a:pt x="6" y="164"/>
                  </a:lnTo>
                  <a:lnTo>
                    <a:pt x="0" y="160"/>
                  </a:lnTo>
                  <a:lnTo>
                    <a:pt x="4" y="148"/>
                  </a:lnTo>
                  <a:lnTo>
                    <a:pt x="10" y="140"/>
                  </a:lnTo>
                  <a:lnTo>
                    <a:pt x="10" y="134"/>
                  </a:lnTo>
                  <a:lnTo>
                    <a:pt x="2" y="116"/>
                  </a:lnTo>
                  <a:lnTo>
                    <a:pt x="4" y="110"/>
                  </a:lnTo>
                  <a:lnTo>
                    <a:pt x="6" y="94"/>
                  </a:lnTo>
                  <a:lnTo>
                    <a:pt x="10" y="90"/>
                  </a:lnTo>
                  <a:lnTo>
                    <a:pt x="16" y="94"/>
                  </a:lnTo>
                  <a:lnTo>
                    <a:pt x="24" y="98"/>
                  </a:lnTo>
                  <a:lnTo>
                    <a:pt x="32" y="80"/>
                  </a:lnTo>
                  <a:lnTo>
                    <a:pt x="36" y="78"/>
                  </a:lnTo>
                  <a:lnTo>
                    <a:pt x="42" y="92"/>
                  </a:lnTo>
                  <a:lnTo>
                    <a:pt x="48" y="90"/>
                  </a:lnTo>
                  <a:lnTo>
                    <a:pt x="48" y="74"/>
                  </a:lnTo>
                  <a:lnTo>
                    <a:pt x="50" y="62"/>
                  </a:lnTo>
                  <a:lnTo>
                    <a:pt x="68" y="62"/>
                  </a:lnTo>
                  <a:lnTo>
                    <a:pt x="84" y="64"/>
                  </a:lnTo>
                  <a:lnTo>
                    <a:pt x="84" y="82"/>
                  </a:lnTo>
                  <a:lnTo>
                    <a:pt x="88" y="92"/>
                  </a:lnTo>
                  <a:lnTo>
                    <a:pt x="106" y="92"/>
                  </a:lnTo>
                  <a:lnTo>
                    <a:pt x="110" y="98"/>
                  </a:lnTo>
                  <a:lnTo>
                    <a:pt x="104" y="116"/>
                  </a:lnTo>
                  <a:lnTo>
                    <a:pt x="94" y="122"/>
                  </a:lnTo>
                  <a:lnTo>
                    <a:pt x="92" y="114"/>
                  </a:lnTo>
                  <a:lnTo>
                    <a:pt x="86" y="114"/>
                  </a:lnTo>
                  <a:lnTo>
                    <a:pt x="82" y="118"/>
                  </a:lnTo>
                  <a:lnTo>
                    <a:pt x="84" y="126"/>
                  </a:lnTo>
                  <a:lnTo>
                    <a:pt x="80" y="140"/>
                  </a:lnTo>
                  <a:lnTo>
                    <a:pt x="76" y="142"/>
                  </a:lnTo>
                  <a:lnTo>
                    <a:pt x="74" y="150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0" y="160"/>
                  </a:lnTo>
                  <a:lnTo>
                    <a:pt x="58" y="168"/>
                  </a:lnTo>
                  <a:lnTo>
                    <a:pt x="56" y="176"/>
                  </a:lnTo>
                  <a:lnTo>
                    <a:pt x="56" y="182"/>
                  </a:lnTo>
                  <a:lnTo>
                    <a:pt x="52" y="192"/>
                  </a:lnTo>
                  <a:lnTo>
                    <a:pt x="56" y="19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8FC2D3A9-92CB-4AEF-BAE4-32565F5F68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513" y="3570288"/>
              <a:ext cx="303212" cy="227012"/>
            </a:xfrm>
            <a:custGeom>
              <a:avLst/>
              <a:gdLst>
                <a:gd name="T0" fmla="*/ 695 w 184"/>
                <a:gd name="T1" fmla="*/ 11 h 146"/>
                <a:gd name="T2" fmla="*/ 701 w 184"/>
                <a:gd name="T3" fmla="*/ 37 h 146"/>
                <a:gd name="T4" fmla="*/ 671 w 184"/>
                <a:gd name="T5" fmla="*/ 44 h 146"/>
                <a:gd name="T6" fmla="*/ 664 w 184"/>
                <a:gd name="T7" fmla="*/ 47 h 146"/>
                <a:gd name="T8" fmla="*/ 650 w 184"/>
                <a:gd name="T9" fmla="*/ 86 h 146"/>
                <a:gd name="T10" fmla="*/ 609 w 184"/>
                <a:gd name="T11" fmla="*/ 111 h 146"/>
                <a:gd name="T12" fmla="*/ 587 w 184"/>
                <a:gd name="T13" fmla="*/ 139 h 146"/>
                <a:gd name="T14" fmla="*/ 602 w 184"/>
                <a:gd name="T15" fmla="*/ 193 h 146"/>
                <a:gd name="T16" fmla="*/ 609 w 184"/>
                <a:gd name="T17" fmla="*/ 226 h 146"/>
                <a:gd name="T18" fmla="*/ 595 w 184"/>
                <a:gd name="T19" fmla="*/ 251 h 146"/>
                <a:gd name="T20" fmla="*/ 619 w 184"/>
                <a:gd name="T21" fmla="*/ 279 h 146"/>
                <a:gd name="T22" fmla="*/ 625 w 184"/>
                <a:gd name="T23" fmla="*/ 295 h 146"/>
                <a:gd name="T24" fmla="*/ 634 w 184"/>
                <a:gd name="T25" fmla="*/ 311 h 146"/>
                <a:gd name="T26" fmla="*/ 650 w 184"/>
                <a:gd name="T27" fmla="*/ 320 h 146"/>
                <a:gd name="T28" fmla="*/ 619 w 184"/>
                <a:gd name="T29" fmla="*/ 332 h 146"/>
                <a:gd name="T30" fmla="*/ 602 w 184"/>
                <a:gd name="T31" fmla="*/ 343 h 146"/>
                <a:gd name="T32" fmla="*/ 587 w 184"/>
                <a:gd name="T33" fmla="*/ 356 h 146"/>
                <a:gd name="T34" fmla="*/ 587 w 184"/>
                <a:gd name="T35" fmla="*/ 375 h 146"/>
                <a:gd name="T36" fmla="*/ 587 w 184"/>
                <a:gd name="T37" fmla="*/ 386 h 146"/>
                <a:gd name="T38" fmla="*/ 575 w 184"/>
                <a:gd name="T39" fmla="*/ 386 h 146"/>
                <a:gd name="T40" fmla="*/ 545 w 184"/>
                <a:gd name="T41" fmla="*/ 379 h 146"/>
                <a:gd name="T42" fmla="*/ 520 w 184"/>
                <a:gd name="T43" fmla="*/ 369 h 146"/>
                <a:gd name="T44" fmla="*/ 487 w 184"/>
                <a:gd name="T45" fmla="*/ 375 h 146"/>
                <a:gd name="T46" fmla="*/ 472 w 184"/>
                <a:gd name="T47" fmla="*/ 386 h 146"/>
                <a:gd name="T48" fmla="*/ 460 w 184"/>
                <a:gd name="T49" fmla="*/ 379 h 146"/>
                <a:gd name="T50" fmla="*/ 436 w 184"/>
                <a:gd name="T51" fmla="*/ 375 h 146"/>
                <a:gd name="T52" fmla="*/ 413 w 184"/>
                <a:gd name="T53" fmla="*/ 356 h 146"/>
                <a:gd name="T54" fmla="*/ 389 w 184"/>
                <a:gd name="T55" fmla="*/ 336 h 146"/>
                <a:gd name="T56" fmla="*/ 370 w 184"/>
                <a:gd name="T57" fmla="*/ 328 h 146"/>
                <a:gd name="T58" fmla="*/ 344 w 184"/>
                <a:gd name="T59" fmla="*/ 315 h 146"/>
                <a:gd name="T60" fmla="*/ 320 w 184"/>
                <a:gd name="T61" fmla="*/ 311 h 146"/>
                <a:gd name="T62" fmla="*/ 296 w 184"/>
                <a:gd name="T63" fmla="*/ 302 h 146"/>
                <a:gd name="T64" fmla="*/ 282 w 184"/>
                <a:gd name="T65" fmla="*/ 283 h 146"/>
                <a:gd name="T66" fmla="*/ 275 w 184"/>
                <a:gd name="T67" fmla="*/ 302 h 146"/>
                <a:gd name="T68" fmla="*/ 257 w 184"/>
                <a:gd name="T69" fmla="*/ 290 h 146"/>
                <a:gd name="T70" fmla="*/ 255 w 184"/>
                <a:gd name="T71" fmla="*/ 283 h 146"/>
                <a:gd name="T72" fmla="*/ 229 w 184"/>
                <a:gd name="T73" fmla="*/ 302 h 146"/>
                <a:gd name="T74" fmla="*/ 196 w 184"/>
                <a:gd name="T75" fmla="*/ 302 h 146"/>
                <a:gd name="T76" fmla="*/ 176 w 184"/>
                <a:gd name="T77" fmla="*/ 304 h 146"/>
                <a:gd name="T78" fmla="*/ 150 w 184"/>
                <a:gd name="T79" fmla="*/ 320 h 146"/>
                <a:gd name="T80" fmla="*/ 150 w 184"/>
                <a:gd name="T81" fmla="*/ 304 h 146"/>
                <a:gd name="T82" fmla="*/ 169 w 184"/>
                <a:gd name="T83" fmla="*/ 251 h 146"/>
                <a:gd name="T84" fmla="*/ 96 w 184"/>
                <a:gd name="T85" fmla="*/ 272 h 146"/>
                <a:gd name="T86" fmla="*/ 46 w 184"/>
                <a:gd name="T87" fmla="*/ 246 h 146"/>
                <a:gd name="T88" fmla="*/ 21 w 184"/>
                <a:gd name="T89" fmla="*/ 181 h 146"/>
                <a:gd name="T90" fmla="*/ 9 w 184"/>
                <a:gd name="T91" fmla="*/ 130 h 146"/>
                <a:gd name="T92" fmla="*/ 14 w 184"/>
                <a:gd name="T93" fmla="*/ 94 h 146"/>
                <a:gd name="T94" fmla="*/ 31 w 184"/>
                <a:gd name="T95" fmla="*/ 72 h 146"/>
                <a:gd name="T96" fmla="*/ 96 w 184"/>
                <a:gd name="T97" fmla="*/ 54 h 146"/>
                <a:gd name="T98" fmla="*/ 146 w 184"/>
                <a:gd name="T99" fmla="*/ 26 h 146"/>
                <a:gd name="T100" fmla="*/ 176 w 184"/>
                <a:gd name="T101" fmla="*/ 21 h 146"/>
                <a:gd name="T102" fmla="*/ 205 w 184"/>
                <a:gd name="T103" fmla="*/ 11 h 146"/>
                <a:gd name="T104" fmla="*/ 305 w 184"/>
                <a:gd name="T105" fmla="*/ 0 h 146"/>
                <a:gd name="T106" fmla="*/ 344 w 184"/>
                <a:gd name="T107" fmla="*/ 2 h 146"/>
                <a:gd name="T108" fmla="*/ 512 w 184"/>
                <a:gd name="T109" fmla="*/ 21 h 146"/>
                <a:gd name="T110" fmla="*/ 575 w 184"/>
                <a:gd name="T111" fmla="*/ 31 h 146"/>
                <a:gd name="T112" fmla="*/ 664 w 184"/>
                <a:gd name="T113" fmla="*/ 26 h 146"/>
                <a:gd name="T114" fmla="*/ 681 w 184"/>
                <a:gd name="T115" fmla="*/ 2 h 1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4"/>
                <a:gd name="T175" fmla="*/ 0 h 146"/>
                <a:gd name="T176" fmla="*/ 184 w 184"/>
                <a:gd name="T177" fmla="*/ 146 h 1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4" h="146">
                  <a:moveTo>
                    <a:pt x="178" y="2"/>
                  </a:moveTo>
                  <a:lnTo>
                    <a:pt x="182" y="4"/>
                  </a:lnTo>
                  <a:lnTo>
                    <a:pt x="184" y="8"/>
                  </a:lnTo>
                  <a:lnTo>
                    <a:pt x="184" y="14"/>
                  </a:lnTo>
                  <a:lnTo>
                    <a:pt x="180" y="16"/>
                  </a:lnTo>
                  <a:lnTo>
                    <a:pt x="176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2" y="22"/>
                  </a:lnTo>
                  <a:lnTo>
                    <a:pt x="170" y="32"/>
                  </a:lnTo>
                  <a:lnTo>
                    <a:pt x="166" y="38"/>
                  </a:lnTo>
                  <a:lnTo>
                    <a:pt x="160" y="42"/>
                  </a:lnTo>
                  <a:lnTo>
                    <a:pt x="156" y="46"/>
                  </a:lnTo>
                  <a:lnTo>
                    <a:pt x="154" y="52"/>
                  </a:lnTo>
                  <a:lnTo>
                    <a:pt x="156" y="58"/>
                  </a:lnTo>
                  <a:lnTo>
                    <a:pt x="158" y="72"/>
                  </a:lnTo>
                  <a:lnTo>
                    <a:pt x="160" y="78"/>
                  </a:lnTo>
                  <a:lnTo>
                    <a:pt x="160" y="84"/>
                  </a:lnTo>
                  <a:lnTo>
                    <a:pt x="156" y="88"/>
                  </a:lnTo>
                  <a:lnTo>
                    <a:pt x="156" y="94"/>
                  </a:lnTo>
                  <a:lnTo>
                    <a:pt x="160" y="102"/>
                  </a:lnTo>
                  <a:lnTo>
                    <a:pt x="162" y="104"/>
                  </a:lnTo>
                  <a:lnTo>
                    <a:pt x="164" y="106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6" y="116"/>
                  </a:lnTo>
                  <a:lnTo>
                    <a:pt x="168" y="118"/>
                  </a:lnTo>
                  <a:lnTo>
                    <a:pt x="170" y="120"/>
                  </a:lnTo>
                  <a:lnTo>
                    <a:pt x="166" y="122"/>
                  </a:lnTo>
                  <a:lnTo>
                    <a:pt x="162" y="124"/>
                  </a:lnTo>
                  <a:lnTo>
                    <a:pt x="160" y="126"/>
                  </a:lnTo>
                  <a:lnTo>
                    <a:pt x="158" y="128"/>
                  </a:lnTo>
                  <a:lnTo>
                    <a:pt x="156" y="132"/>
                  </a:lnTo>
                  <a:lnTo>
                    <a:pt x="154" y="132"/>
                  </a:lnTo>
                  <a:lnTo>
                    <a:pt x="154" y="136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54" y="144"/>
                  </a:lnTo>
                  <a:lnTo>
                    <a:pt x="150" y="146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42" y="142"/>
                  </a:lnTo>
                  <a:lnTo>
                    <a:pt x="138" y="140"/>
                  </a:lnTo>
                  <a:lnTo>
                    <a:pt x="136" y="138"/>
                  </a:lnTo>
                  <a:lnTo>
                    <a:pt x="132" y="140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4"/>
                  </a:lnTo>
                  <a:lnTo>
                    <a:pt x="122" y="144"/>
                  </a:lnTo>
                  <a:lnTo>
                    <a:pt x="120" y="142"/>
                  </a:lnTo>
                  <a:lnTo>
                    <a:pt x="116" y="140"/>
                  </a:lnTo>
                  <a:lnTo>
                    <a:pt x="114" y="140"/>
                  </a:lnTo>
                  <a:lnTo>
                    <a:pt x="110" y="138"/>
                  </a:lnTo>
                  <a:lnTo>
                    <a:pt x="108" y="132"/>
                  </a:lnTo>
                  <a:lnTo>
                    <a:pt x="104" y="128"/>
                  </a:lnTo>
                  <a:lnTo>
                    <a:pt x="102" y="126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4" y="122"/>
                  </a:lnTo>
                  <a:lnTo>
                    <a:pt x="90" y="118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78" y="112"/>
                  </a:lnTo>
                  <a:lnTo>
                    <a:pt x="76" y="11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2"/>
                  </a:lnTo>
                  <a:lnTo>
                    <a:pt x="70" y="110"/>
                  </a:lnTo>
                  <a:lnTo>
                    <a:pt x="68" y="108"/>
                  </a:lnTo>
                  <a:lnTo>
                    <a:pt x="68" y="106"/>
                  </a:lnTo>
                  <a:lnTo>
                    <a:pt x="66" y="106"/>
                  </a:lnTo>
                  <a:lnTo>
                    <a:pt x="62" y="110"/>
                  </a:lnTo>
                  <a:lnTo>
                    <a:pt x="60" y="112"/>
                  </a:lnTo>
                  <a:lnTo>
                    <a:pt x="56" y="112"/>
                  </a:lnTo>
                  <a:lnTo>
                    <a:pt x="52" y="112"/>
                  </a:lnTo>
                  <a:lnTo>
                    <a:pt x="50" y="114"/>
                  </a:lnTo>
                  <a:lnTo>
                    <a:pt x="46" y="114"/>
                  </a:lnTo>
                  <a:lnTo>
                    <a:pt x="42" y="116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40" y="114"/>
                  </a:lnTo>
                  <a:lnTo>
                    <a:pt x="40" y="102"/>
                  </a:lnTo>
                  <a:lnTo>
                    <a:pt x="44" y="94"/>
                  </a:lnTo>
                  <a:lnTo>
                    <a:pt x="38" y="88"/>
                  </a:lnTo>
                  <a:lnTo>
                    <a:pt x="26" y="102"/>
                  </a:lnTo>
                  <a:lnTo>
                    <a:pt x="20" y="94"/>
                  </a:lnTo>
                  <a:lnTo>
                    <a:pt x="12" y="92"/>
                  </a:lnTo>
                  <a:lnTo>
                    <a:pt x="12" y="62"/>
                  </a:lnTo>
                  <a:lnTo>
                    <a:pt x="6" y="68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2" y="28"/>
                  </a:lnTo>
                  <a:lnTo>
                    <a:pt x="8" y="26"/>
                  </a:lnTo>
                  <a:lnTo>
                    <a:pt x="26" y="24"/>
                  </a:lnTo>
                  <a:lnTo>
                    <a:pt x="26" y="20"/>
                  </a:lnTo>
                  <a:lnTo>
                    <a:pt x="36" y="16"/>
                  </a:lnTo>
                  <a:lnTo>
                    <a:pt x="38" y="10"/>
                  </a:lnTo>
                  <a:lnTo>
                    <a:pt x="46" y="12"/>
                  </a:lnTo>
                  <a:lnTo>
                    <a:pt x="46" y="8"/>
                  </a:lnTo>
                  <a:lnTo>
                    <a:pt x="52" y="10"/>
                  </a:lnTo>
                  <a:lnTo>
                    <a:pt x="54" y="4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82" y="6"/>
                  </a:lnTo>
                  <a:lnTo>
                    <a:pt x="90" y="2"/>
                  </a:lnTo>
                  <a:lnTo>
                    <a:pt x="114" y="4"/>
                  </a:lnTo>
                  <a:lnTo>
                    <a:pt x="134" y="8"/>
                  </a:lnTo>
                  <a:lnTo>
                    <a:pt x="140" y="14"/>
                  </a:lnTo>
                  <a:lnTo>
                    <a:pt x="150" y="12"/>
                  </a:lnTo>
                  <a:lnTo>
                    <a:pt x="166" y="14"/>
                  </a:lnTo>
                  <a:lnTo>
                    <a:pt x="174" y="10"/>
                  </a:lnTo>
                  <a:lnTo>
                    <a:pt x="178" y="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" name="Freeform 17">
              <a:extLst>
                <a:ext uri="{FF2B5EF4-FFF2-40B4-BE49-F238E27FC236}">
                  <a16:creationId xmlns:a16="http://schemas.microsoft.com/office/drawing/2014/main" id="{F0F5FE80-B7D7-4F56-9385-807100D394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1350" y="3736975"/>
              <a:ext cx="463550" cy="258762"/>
            </a:xfrm>
            <a:custGeom>
              <a:avLst/>
              <a:gdLst>
                <a:gd name="T0" fmla="*/ 967 w 280"/>
                <a:gd name="T1" fmla="*/ 103 h 168"/>
                <a:gd name="T2" fmla="*/ 990 w 280"/>
                <a:gd name="T3" fmla="*/ 127 h 168"/>
                <a:gd name="T4" fmla="*/ 1015 w 280"/>
                <a:gd name="T5" fmla="*/ 143 h 168"/>
                <a:gd name="T6" fmla="*/ 1006 w 280"/>
                <a:gd name="T7" fmla="*/ 161 h 168"/>
                <a:gd name="T8" fmla="*/ 1000 w 280"/>
                <a:gd name="T9" fmla="*/ 171 h 168"/>
                <a:gd name="T10" fmla="*/ 990 w 280"/>
                <a:gd name="T11" fmla="*/ 201 h 168"/>
                <a:gd name="T12" fmla="*/ 1000 w 280"/>
                <a:gd name="T13" fmla="*/ 211 h 168"/>
                <a:gd name="T14" fmla="*/ 1024 w 280"/>
                <a:gd name="T15" fmla="*/ 215 h 168"/>
                <a:gd name="T16" fmla="*/ 1015 w 280"/>
                <a:gd name="T17" fmla="*/ 230 h 168"/>
                <a:gd name="T18" fmla="*/ 1037 w 280"/>
                <a:gd name="T19" fmla="*/ 254 h 168"/>
                <a:gd name="T20" fmla="*/ 1052 w 280"/>
                <a:gd name="T21" fmla="*/ 274 h 168"/>
                <a:gd name="T22" fmla="*/ 1067 w 280"/>
                <a:gd name="T23" fmla="*/ 313 h 168"/>
                <a:gd name="T24" fmla="*/ 1062 w 280"/>
                <a:gd name="T25" fmla="*/ 332 h 168"/>
                <a:gd name="T26" fmla="*/ 1015 w 280"/>
                <a:gd name="T27" fmla="*/ 349 h 168"/>
                <a:gd name="T28" fmla="*/ 986 w 280"/>
                <a:gd name="T29" fmla="*/ 367 h 168"/>
                <a:gd name="T30" fmla="*/ 961 w 280"/>
                <a:gd name="T31" fmla="*/ 396 h 168"/>
                <a:gd name="T32" fmla="*/ 906 w 280"/>
                <a:gd name="T33" fmla="*/ 385 h 168"/>
                <a:gd name="T34" fmla="*/ 869 w 280"/>
                <a:gd name="T35" fmla="*/ 402 h 168"/>
                <a:gd name="T36" fmla="*/ 839 w 280"/>
                <a:gd name="T37" fmla="*/ 407 h 168"/>
                <a:gd name="T38" fmla="*/ 782 w 280"/>
                <a:gd name="T39" fmla="*/ 402 h 168"/>
                <a:gd name="T40" fmla="*/ 745 w 280"/>
                <a:gd name="T41" fmla="*/ 367 h 168"/>
                <a:gd name="T42" fmla="*/ 671 w 280"/>
                <a:gd name="T43" fmla="*/ 332 h 168"/>
                <a:gd name="T44" fmla="*/ 586 w 280"/>
                <a:gd name="T45" fmla="*/ 305 h 168"/>
                <a:gd name="T46" fmla="*/ 555 w 280"/>
                <a:gd name="T47" fmla="*/ 292 h 168"/>
                <a:gd name="T48" fmla="*/ 499 w 280"/>
                <a:gd name="T49" fmla="*/ 305 h 168"/>
                <a:gd name="T50" fmla="*/ 440 w 280"/>
                <a:gd name="T51" fmla="*/ 301 h 168"/>
                <a:gd name="T52" fmla="*/ 355 w 280"/>
                <a:gd name="T53" fmla="*/ 301 h 168"/>
                <a:gd name="T54" fmla="*/ 311 w 280"/>
                <a:gd name="T55" fmla="*/ 303 h 168"/>
                <a:gd name="T56" fmla="*/ 281 w 280"/>
                <a:gd name="T57" fmla="*/ 290 h 168"/>
                <a:gd name="T58" fmla="*/ 205 w 280"/>
                <a:gd name="T59" fmla="*/ 290 h 168"/>
                <a:gd name="T60" fmla="*/ 89 w 280"/>
                <a:gd name="T61" fmla="*/ 305 h 168"/>
                <a:gd name="T62" fmla="*/ 37 w 280"/>
                <a:gd name="T63" fmla="*/ 342 h 168"/>
                <a:gd name="T64" fmla="*/ 9 w 280"/>
                <a:gd name="T65" fmla="*/ 274 h 168"/>
                <a:gd name="T66" fmla="*/ 61 w 280"/>
                <a:gd name="T67" fmla="*/ 211 h 168"/>
                <a:gd name="T68" fmla="*/ 96 w 280"/>
                <a:gd name="T69" fmla="*/ 123 h 168"/>
                <a:gd name="T70" fmla="*/ 196 w 280"/>
                <a:gd name="T71" fmla="*/ 89 h 168"/>
                <a:gd name="T72" fmla="*/ 244 w 280"/>
                <a:gd name="T73" fmla="*/ 78 h 168"/>
                <a:gd name="T74" fmla="*/ 320 w 280"/>
                <a:gd name="T75" fmla="*/ 143 h 168"/>
                <a:gd name="T76" fmla="*/ 365 w 280"/>
                <a:gd name="T77" fmla="*/ 207 h 168"/>
                <a:gd name="T78" fmla="*/ 487 w 280"/>
                <a:gd name="T79" fmla="*/ 182 h 168"/>
                <a:gd name="T80" fmla="*/ 487 w 280"/>
                <a:gd name="T81" fmla="*/ 58 h 168"/>
                <a:gd name="T82" fmla="*/ 512 w 280"/>
                <a:gd name="T83" fmla="*/ 35 h 168"/>
                <a:gd name="T84" fmla="*/ 549 w 280"/>
                <a:gd name="T85" fmla="*/ 19 h 168"/>
                <a:gd name="T86" fmla="*/ 586 w 280"/>
                <a:gd name="T87" fmla="*/ 14 h 168"/>
                <a:gd name="T88" fmla="*/ 615 w 280"/>
                <a:gd name="T89" fmla="*/ 0 h 168"/>
                <a:gd name="T90" fmla="*/ 632 w 280"/>
                <a:gd name="T91" fmla="*/ 14 h 168"/>
                <a:gd name="T92" fmla="*/ 646 w 280"/>
                <a:gd name="T93" fmla="*/ 10 h 168"/>
                <a:gd name="T94" fmla="*/ 675 w 280"/>
                <a:gd name="T95" fmla="*/ 26 h 168"/>
                <a:gd name="T96" fmla="*/ 717 w 280"/>
                <a:gd name="T97" fmla="*/ 41 h 168"/>
                <a:gd name="T98" fmla="*/ 745 w 280"/>
                <a:gd name="T99" fmla="*/ 49 h 168"/>
                <a:gd name="T100" fmla="*/ 780 w 280"/>
                <a:gd name="T101" fmla="*/ 78 h 168"/>
                <a:gd name="T102" fmla="*/ 814 w 280"/>
                <a:gd name="T103" fmla="*/ 89 h 168"/>
                <a:gd name="T104" fmla="*/ 839 w 280"/>
                <a:gd name="T105" fmla="*/ 89 h 168"/>
                <a:gd name="T106" fmla="*/ 876 w 280"/>
                <a:gd name="T107" fmla="*/ 78 h 168"/>
                <a:gd name="T108" fmla="*/ 906 w 280"/>
                <a:gd name="T109" fmla="*/ 92 h 168"/>
                <a:gd name="T110" fmla="*/ 945 w 280"/>
                <a:gd name="T111" fmla="*/ 92 h 1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0"/>
                <a:gd name="T169" fmla="*/ 0 h 168"/>
                <a:gd name="T170" fmla="*/ 280 w 280"/>
                <a:gd name="T171" fmla="*/ 168 h 1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0" h="168">
                  <a:moveTo>
                    <a:pt x="248" y="38"/>
                  </a:moveTo>
                  <a:lnTo>
                    <a:pt x="254" y="38"/>
                  </a:lnTo>
                  <a:lnTo>
                    <a:pt x="254" y="42"/>
                  </a:lnTo>
                  <a:lnTo>
                    <a:pt x="254" y="46"/>
                  </a:lnTo>
                  <a:lnTo>
                    <a:pt x="258" y="48"/>
                  </a:lnTo>
                  <a:lnTo>
                    <a:pt x="260" y="52"/>
                  </a:lnTo>
                  <a:lnTo>
                    <a:pt x="262" y="54"/>
                  </a:lnTo>
                  <a:lnTo>
                    <a:pt x="266" y="54"/>
                  </a:lnTo>
                  <a:lnTo>
                    <a:pt x="266" y="58"/>
                  </a:lnTo>
                  <a:lnTo>
                    <a:pt x="266" y="62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2" y="66"/>
                  </a:lnTo>
                  <a:lnTo>
                    <a:pt x="260" y="68"/>
                  </a:lnTo>
                  <a:lnTo>
                    <a:pt x="262" y="70"/>
                  </a:lnTo>
                  <a:lnTo>
                    <a:pt x="260" y="76"/>
                  </a:lnTo>
                  <a:lnTo>
                    <a:pt x="262" y="78"/>
                  </a:lnTo>
                  <a:lnTo>
                    <a:pt x="260" y="82"/>
                  </a:lnTo>
                  <a:lnTo>
                    <a:pt x="258" y="84"/>
                  </a:lnTo>
                  <a:lnTo>
                    <a:pt x="258" y="88"/>
                  </a:lnTo>
                  <a:lnTo>
                    <a:pt x="262" y="86"/>
                  </a:lnTo>
                  <a:lnTo>
                    <a:pt x="264" y="84"/>
                  </a:lnTo>
                  <a:lnTo>
                    <a:pt x="266" y="88"/>
                  </a:lnTo>
                  <a:lnTo>
                    <a:pt x="268" y="88"/>
                  </a:lnTo>
                  <a:lnTo>
                    <a:pt x="268" y="90"/>
                  </a:lnTo>
                  <a:lnTo>
                    <a:pt x="268" y="92"/>
                  </a:lnTo>
                  <a:lnTo>
                    <a:pt x="266" y="94"/>
                  </a:lnTo>
                  <a:lnTo>
                    <a:pt x="268" y="98"/>
                  </a:lnTo>
                  <a:lnTo>
                    <a:pt x="270" y="100"/>
                  </a:lnTo>
                  <a:lnTo>
                    <a:pt x="272" y="104"/>
                  </a:lnTo>
                  <a:lnTo>
                    <a:pt x="274" y="108"/>
                  </a:lnTo>
                  <a:lnTo>
                    <a:pt x="278" y="108"/>
                  </a:lnTo>
                  <a:lnTo>
                    <a:pt x="276" y="112"/>
                  </a:lnTo>
                  <a:lnTo>
                    <a:pt x="278" y="114"/>
                  </a:lnTo>
                  <a:lnTo>
                    <a:pt x="278" y="120"/>
                  </a:lnTo>
                  <a:lnTo>
                    <a:pt x="280" y="128"/>
                  </a:lnTo>
                  <a:lnTo>
                    <a:pt x="278" y="130"/>
                  </a:lnTo>
                  <a:lnTo>
                    <a:pt x="278" y="134"/>
                  </a:lnTo>
                  <a:lnTo>
                    <a:pt x="278" y="136"/>
                  </a:lnTo>
                  <a:lnTo>
                    <a:pt x="274" y="138"/>
                  </a:lnTo>
                  <a:lnTo>
                    <a:pt x="268" y="138"/>
                  </a:lnTo>
                  <a:lnTo>
                    <a:pt x="266" y="142"/>
                  </a:lnTo>
                  <a:lnTo>
                    <a:pt x="264" y="144"/>
                  </a:lnTo>
                  <a:lnTo>
                    <a:pt x="260" y="148"/>
                  </a:lnTo>
                  <a:lnTo>
                    <a:pt x="258" y="150"/>
                  </a:lnTo>
                  <a:lnTo>
                    <a:pt x="258" y="154"/>
                  </a:lnTo>
                  <a:lnTo>
                    <a:pt x="256" y="160"/>
                  </a:lnTo>
                  <a:lnTo>
                    <a:pt x="252" y="162"/>
                  </a:lnTo>
                  <a:lnTo>
                    <a:pt x="248" y="160"/>
                  </a:lnTo>
                  <a:lnTo>
                    <a:pt x="244" y="160"/>
                  </a:lnTo>
                  <a:lnTo>
                    <a:pt x="238" y="158"/>
                  </a:lnTo>
                  <a:lnTo>
                    <a:pt x="232" y="158"/>
                  </a:lnTo>
                  <a:lnTo>
                    <a:pt x="230" y="160"/>
                  </a:lnTo>
                  <a:lnTo>
                    <a:pt x="228" y="164"/>
                  </a:lnTo>
                  <a:lnTo>
                    <a:pt x="224" y="168"/>
                  </a:lnTo>
                  <a:lnTo>
                    <a:pt x="222" y="168"/>
                  </a:lnTo>
                  <a:lnTo>
                    <a:pt x="220" y="166"/>
                  </a:lnTo>
                  <a:lnTo>
                    <a:pt x="218" y="168"/>
                  </a:lnTo>
                  <a:lnTo>
                    <a:pt x="212" y="168"/>
                  </a:lnTo>
                  <a:lnTo>
                    <a:pt x="206" y="164"/>
                  </a:lnTo>
                  <a:lnTo>
                    <a:pt x="204" y="160"/>
                  </a:lnTo>
                  <a:lnTo>
                    <a:pt x="202" y="156"/>
                  </a:lnTo>
                  <a:lnTo>
                    <a:pt x="196" y="150"/>
                  </a:lnTo>
                  <a:lnTo>
                    <a:pt x="188" y="144"/>
                  </a:lnTo>
                  <a:lnTo>
                    <a:pt x="182" y="136"/>
                  </a:lnTo>
                  <a:lnTo>
                    <a:pt x="176" y="136"/>
                  </a:lnTo>
                  <a:lnTo>
                    <a:pt x="166" y="134"/>
                  </a:lnTo>
                  <a:lnTo>
                    <a:pt x="160" y="130"/>
                  </a:lnTo>
                  <a:lnTo>
                    <a:pt x="154" y="126"/>
                  </a:lnTo>
                  <a:lnTo>
                    <a:pt x="154" y="116"/>
                  </a:lnTo>
                  <a:lnTo>
                    <a:pt x="150" y="118"/>
                  </a:lnTo>
                  <a:lnTo>
                    <a:pt x="146" y="120"/>
                  </a:lnTo>
                  <a:lnTo>
                    <a:pt x="140" y="126"/>
                  </a:lnTo>
                  <a:lnTo>
                    <a:pt x="134" y="126"/>
                  </a:lnTo>
                  <a:lnTo>
                    <a:pt x="130" y="126"/>
                  </a:lnTo>
                  <a:lnTo>
                    <a:pt x="124" y="128"/>
                  </a:lnTo>
                  <a:lnTo>
                    <a:pt x="120" y="126"/>
                  </a:lnTo>
                  <a:lnTo>
                    <a:pt x="116" y="122"/>
                  </a:lnTo>
                  <a:lnTo>
                    <a:pt x="106" y="122"/>
                  </a:lnTo>
                  <a:lnTo>
                    <a:pt x="100" y="124"/>
                  </a:lnTo>
                  <a:lnTo>
                    <a:pt x="94" y="122"/>
                  </a:lnTo>
                  <a:lnTo>
                    <a:pt x="88" y="120"/>
                  </a:lnTo>
                  <a:lnTo>
                    <a:pt x="86" y="122"/>
                  </a:lnTo>
                  <a:lnTo>
                    <a:pt x="82" y="124"/>
                  </a:lnTo>
                  <a:lnTo>
                    <a:pt x="80" y="122"/>
                  </a:lnTo>
                  <a:lnTo>
                    <a:pt x="78" y="118"/>
                  </a:lnTo>
                  <a:lnTo>
                    <a:pt x="74" y="118"/>
                  </a:lnTo>
                  <a:lnTo>
                    <a:pt x="70" y="120"/>
                  </a:lnTo>
                  <a:lnTo>
                    <a:pt x="68" y="120"/>
                  </a:lnTo>
                  <a:lnTo>
                    <a:pt x="54" y="118"/>
                  </a:lnTo>
                  <a:lnTo>
                    <a:pt x="46" y="116"/>
                  </a:lnTo>
                  <a:lnTo>
                    <a:pt x="34" y="122"/>
                  </a:lnTo>
                  <a:lnTo>
                    <a:pt x="24" y="126"/>
                  </a:lnTo>
                  <a:lnTo>
                    <a:pt x="16" y="130"/>
                  </a:lnTo>
                  <a:lnTo>
                    <a:pt x="12" y="134"/>
                  </a:lnTo>
                  <a:lnTo>
                    <a:pt x="10" y="140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2" y="112"/>
                  </a:lnTo>
                  <a:lnTo>
                    <a:pt x="2" y="104"/>
                  </a:lnTo>
                  <a:lnTo>
                    <a:pt x="4" y="98"/>
                  </a:lnTo>
                  <a:lnTo>
                    <a:pt x="16" y="86"/>
                  </a:lnTo>
                  <a:lnTo>
                    <a:pt x="16" y="64"/>
                  </a:lnTo>
                  <a:lnTo>
                    <a:pt x="22" y="58"/>
                  </a:lnTo>
                  <a:lnTo>
                    <a:pt x="26" y="50"/>
                  </a:lnTo>
                  <a:lnTo>
                    <a:pt x="30" y="42"/>
                  </a:lnTo>
                  <a:lnTo>
                    <a:pt x="34" y="42"/>
                  </a:lnTo>
                  <a:lnTo>
                    <a:pt x="52" y="36"/>
                  </a:lnTo>
                  <a:lnTo>
                    <a:pt x="56" y="34"/>
                  </a:lnTo>
                  <a:lnTo>
                    <a:pt x="58" y="32"/>
                  </a:lnTo>
                  <a:lnTo>
                    <a:pt x="64" y="32"/>
                  </a:lnTo>
                  <a:lnTo>
                    <a:pt x="64" y="40"/>
                  </a:lnTo>
                  <a:lnTo>
                    <a:pt x="76" y="52"/>
                  </a:lnTo>
                  <a:lnTo>
                    <a:pt x="84" y="58"/>
                  </a:lnTo>
                  <a:lnTo>
                    <a:pt x="86" y="72"/>
                  </a:lnTo>
                  <a:lnTo>
                    <a:pt x="88" y="78"/>
                  </a:lnTo>
                  <a:lnTo>
                    <a:pt x="96" y="84"/>
                  </a:lnTo>
                  <a:lnTo>
                    <a:pt x="110" y="86"/>
                  </a:lnTo>
                  <a:lnTo>
                    <a:pt x="124" y="78"/>
                  </a:lnTo>
                  <a:lnTo>
                    <a:pt x="128" y="74"/>
                  </a:lnTo>
                  <a:lnTo>
                    <a:pt x="132" y="64"/>
                  </a:lnTo>
                  <a:lnTo>
                    <a:pt x="132" y="52"/>
                  </a:lnTo>
                  <a:lnTo>
                    <a:pt x="128" y="24"/>
                  </a:lnTo>
                  <a:lnTo>
                    <a:pt x="132" y="16"/>
                  </a:lnTo>
                  <a:lnTo>
                    <a:pt x="132" y="14"/>
                  </a:lnTo>
                  <a:lnTo>
                    <a:pt x="134" y="14"/>
                  </a:lnTo>
                  <a:lnTo>
                    <a:pt x="136" y="10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6" y="6"/>
                  </a:lnTo>
                  <a:lnTo>
                    <a:pt x="150" y="6"/>
                  </a:lnTo>
                  <a:lnTo>
                    <a:pt x="154" y="6"/>
                  </a:lnTo>
                  <a:lnTo>
                    <a:pt x="156" y="4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2"/>
                  </a:lnTo>
                  <a:lnTo>
                    <a:pt x="164" y="4"/>
                  </a:lnTo>
                  <a:lnTo>
                    <a:pt x="166" y="6"/>
                  </a:lnTo>
                  <a:lnTo>
                    <a:pt x="168" y="2"/>
                  </a:lnTo>
                  <a:lnTo>
                    <a:pt x="168" y="0"/>
                  </a:lnTo>
                  <a:lnTo>
                    <a:pt x="170" y="4"/>
                  </a:lnTo>
                  <a:lnTo>
                    <a:pt x="172" y="6"/>
                  </a:lnTo>
                  <a:lnTo>
                    <a:pt x="178" y="8"/>
                  </a:lnTo>
                  <a:lnTo>
                    <a:pt x="178" y="10"/>
                  </a:lnTo>
                  <a:lnTo>
                    <a:pt x="184" y="12"/>
                  </a:lnTo>
                  <a:lnTo>
                    <a:pt x="188" y="16"/>
                  </a:lnTo>
                  <a:lnTo>
                    <a:pt x="192" y="16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2" y="26"/>
                  </a:lnTo>
                  <a:lnTo>
                    <a:pt x="204" y="32"/>
                  </a:lnTo>
                  <a:lnTo>
                    <a:pt x="208" y="34"/>
                  </a:lnTo>
                  <a:lnTo>
                    <a:pt x="210" y="34"/>
                  </a:lnTo>
                  <a:lnTo>
                    <a:pt x="214" y="36"/>
                  </a:lnTo>
                  <a:lnTo>
                    <a:pt x="216" y="38"/>
                  </a:lnTo>
                  <a:lnTo>
                    <a:pt x="218" y="38"/>
                  </a:lnTo>
                  <a:lnTo>
                    <a:pt x="220" y="36"/>
                  </a:lnTo>
                  <a:lnTo>
                    <a:pt x="222" y="34"/>
                  </a:lnTo>
                  <a:lnTo>
                    <a:pt x="226" y="34"/>
                  </a:lnTo>
                  <a:lnTo>
                    <a:pt x="230" y="32"/>
                  </a:lnTo>
                  <a:lnTo>
                    <a:pt x="232" y="34"/>
                  </a:lnTo>
                  <a:lnTo>
                    <a:pt x="236" y="36"/>
                  </a:lnTo>
                  <a:lnTo>
                    <a:pt x="238" y="38"/>
                  </a:lnTo>
                  <a:lnTo>
                    <a:pt x="244" y="38"/>
                  </a:lnTo>
                  <a:lnTo>
                    <a:pt x="244" y="40"/>
                  </a:lnTo>
                  <a:lnTo>
                    <a:pt x="248" y="3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18">
              <a:extLst>
                <a:ext uri="{FF2B5EF4-FFF2-40B4-BE49-F238E27FC236}">
                  <a16:creationId xmlns:a16="http://schemas.microsoft.com/office/drawing/2014/main" id="{9ECB0455-5DBA-47E2-AD83-052008477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3275" y="4227513"/>
              <a:ext cx="236537" cy="261937"/>
            </a:xfrm>
            <a:custGeom>
              <a:avLst/>
              <a:gdLst>
                <a:gd name="T0" fmla="*/ 552 w 142"/>
                <a:gd name="T1" fmla="*/ 75 h 168"/>
                <a:gd name="T2" fmla="*/ 526 w 142"/>
                <a:gd name="T3" fmla="*/ 136 h 168"/>
                <a:gd name="T4" fmla="*/ 479 w 142"/>
                <a:gd name="T5" fmla="*/ 145 h 168"/>
                <a:gd name="T6" fmla="*/ 504 w 142"/>
                <a:gd name="T7" fmla="*/ 165 h 168"/>
                <a:gd name="T8" fmla="*/ 526 w 142"/>
                <a:gd name="T9" fmla="*/ 177 h 168"/>
                <a:gd name="T10" fmla="*/ 504 w 142"/>
                <a:gd name="T11" fmla="*/ 219 h 168"/>
                <a:gd name="T12" fmla="*/ 475 w 142"/>
                <a:gd name="T13" fmla="*/ 257 h 168"/>
                <a:gd name="T14" fmla="*/ 402 w 142"/>
                <a:gd name="T15" fmla="*/ 257 h 168"/>
                <a:gd name="T16" fmla="*/ 366 w 142"/>
                <a:gd name="T17" fmla="*/ 272 h 168"/>
                <a:gd name="T18" fmla="*/ 389 w 142"/>
                <a:gd name="T19" fmla="*/ 302 h 168"/>
                <a:gd name="T20" fmla="*/ 402 w 142"/>
                <a:gd name="T21" fmla="*/ 336 h 168"/>
                <a:gd name="T22" fmla="*/ 380 w 142"/>
                <a:gd name="T23" fmla="*/ 370 h 168"/>
                <a:gd name="T24" fmla="*/ 380 w 142"/>
                <a:gd name="T25" fmla="*/ 391 h 168"/>
                <a:gd name="T26" fmla="*/ 357 w 142"/>
                <a:gd name="T27" fmla="*/ 407 h 168"/>
                <a:gd name="T28" fmla="*/ 380 w 142"/>
                <a:gd name="T29" fmla="*/ 422 h 168"/>
                <a:gd name="T30" fmla="*/ 325 w 142"/>
                <a:gd name="T31" fmla="*/ 450 h 168"/>
                <a:gd name="T32" fmla="*/ 333 w 142"/>
                <a:gd name="T33" fmla="*/ 420 h 168"/>
                <a:gd name="T34" fmla="*/ 293 w 142"/>
                <a:gd name="T35" fmla="*/ 358 h 168"/>
                <a:gd name="T36" fmla="*/ 242 w 142"/>
                <a:gd name="T37" fmla="*/ 336 h 168"/>
                <a:gd name="T38" fmla="*/ 211 w 142"/>
                <a:gd name="T39" fmla="*/ 343 h 168"/>
                <a:gd name="T40" fmla="*/ 169 w 142"/>
                <a:gd name="T41" fmla="*/ 336 h 168"/>
                <a:gd name="T42" fmla="*/ 134 w 142"/>
                <a:gd name="T43" fmla="*/ 336 h 168"/>
                <a:gd name="T44" fmla="*/ 100 w 142"/>
                <a:gd name="T45" fmla="*/ 348 h 168"/>
                <a:gd name="T46" fmla="*/ 39 w 142"/>
                <a:gd name="T47" fmla="*/ 336 h 168"/>
                <a:gd name="T48" fmla="*/ 0 w 142"/>
                <a:gd name="T49" fmla="*/ 311 h 168"/>
                <a:gd name="T50" fmla="*/ 108 w 142"/>
                <a:gd name="T51" fmla="*/ 226 h 168"/>
                <a:gd name="T52" fmla="*/ 169 w 142"/>
                <a:gd name="T53" fmla="*/ 115 h 168"/>
                <a:gd name="T54" fmla="*/ 227 w 142"/>
                <a:gd name="T55" fmla="*/ 98 h 168"/>
                <a:gd name="T56" fmla="*/ 256 w 142"/>
                <a:gd name="T57" fmla="*/ 136 h 168"/>
                <a:gd name="T58" fmla="*/ 227 w 142"/>
                <a:gd name="T59" fmla="*/ 145 h 168"/>
                <a:gd name="T60" fmla="*/ 217 w 142"/>
                <a:gd name="T61" fmla="*/ 193 h 168"/>
                <a:gd name="T62" fmla="*/ 310 w 142"/>
                <a:gd name="T63" fmla="*/ 193 h 168"/>
                <a:gd name="T64" fmla="*/ 341 w 142"/>
                <a:gd name="T65" fmla="*/ 150 h 168"/>
                <a:gd name="T66" fmla="*/ 303 w 142"/>
                <a:gd name="T67" fmla="*/ 139 h 168"/>
                <a:gd name="T68" fmla="*/ 318 w 142"/>
                <a:gd name="T69" fmla="*/ 115 h 168"/>
                <a:gd name="T70" fmla="*/ 272 w 142"/>
                <a:gd name="T71" fmla="*/ 107 h 168"/>
                <a:gd name="T72" fmla="*/ 272 w 142"/>
                <a:gd name="T73" fmla="*/ 72 h 168"/>
                <a:gd name="T74" fmla="*/ 280 w 142"/>
                <a:gd name="T75" fmla="*/ 44 h 168"/>
                <a:gd name="T76" fmla="*/ 366 w 142"/>
                <a:gd name="T77" fmla="*/ 11 h 168"/>
                <a:gd name="T78" fmla="*/ 479 w 142"/>
                <a:gd name="T79" fmla="*/ 0 h 168"/>
                <a:gd name="T80" fmla="*/ 520 w 142"/>
                <a:gd name="T81" fmla="*/ 26 h 168"/>
                <a:gd name="T82" fmla="*/ 542 w 142"/>
                <a:gd name="T83" fmla="*/ 44 h 16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2"/>
                <a:gd name="T127" fmla="*/ 0 h 168"/>
                <a:gd name="T128" fmla="*/ 142 w 142"/>
                <a:gd name="T129" fmla="*/ 168 h 16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2" h="168">
                  <a:moveTo>
                    <a:pt x="140" y="16"/>
                  </a:moveTo>
                  <a:lnTo>
                    <a:pt x="142" y="28"/>
                  </a:lnTo>
                  <a:lnTo>
                    <a:pt x="136" y="38"/>
                  </a:lnTo>
                  <a:lnTo>
                    <a:pt x="136" y="50"/>
                  </a:lnTo>
                  <a:lnTo>
                    <a:pt x="126" y="48"/>
                  </a:lnTo>
                  <a:lnTo>
                    <a:pt x="124" y="54"/>
                  </a:lnTo>
                  <a:lnTo>
                    <a:pt x="122" y="60"/>
                  </a:lnTo>
                  <a:lnTo>
                    <a:pt x="130" y="62"/>
                  </a:lnTo>
                  <a:lnTo>
                    <a:pt x="134" y="62"/>
                  </a:lnTo>
                  <a:lnTo>
                    <a:pt x="136" y="66"/>
                  </a:lnTo>
                  <a:lnTo>
                    <a:pt x="136" y="76"/>
                  </a:lnTo>
                  <a:lnTo>
                    <a:pt x="130" y="82"/>
                  </a:lnTo>
                  <a:lnTo>
                    <a:pt x="128" y="92"/>
                  </a:lnTo>
                  <a:lnTo>
                    <a:pt x="122" y="96"/>
                  </a:lnTo>
                  <a:lnTo>
                    <a:pt x="110" y="100"/>
                  </a:lnTo>
                  <a:lnTo>
                    <a:pt x="104" y="96"/>
                  </a:lnTo>
                  <a:lnTo>
                    <a:pt x="100" y="98"/>
                  </a:lnTo>
                  <a:lnTo>
                    <a:pt x="94" y="102"/>
                  </a:lnTo>
                  <a:lnTo>
                    <a:pt x="94" y="106"/>
                  </a:lnTo>
                  <a:lnTo>
                    <a:pt x="100" y="112"/>
                  </a:lnTo>
                  <a:lnTo>
                    <a:pt x="102" y="118"/>
                  </a:lnTo>
                  <a:lnTo>
                    <a:pt x="104" y="126"/>
                  </a:lnTo>
                  <a:lnTo>
                    <a:pt x="102" y="130"/>
                  </a:lnTo>
                  <a:lnTo>
                    <a:pt x="98" y="138"/>
                  </a:lnTo>
                  <a:lnTo>
                    <a:pt x="102" y="142"/>
                  </a:lnTo>
                  <a:lnTo>
                    <a:pt x="98" y="146"/>
                  </a:lnTo>
                  <a:lnTo>
                    <a:pt x="94" y="148"/>
                  </a:lnTo>
                  <a:lnTo>
                    <a:pt x="92" y="152"/>
                  </a:lnTo>
                  <a:lnTo>
                    <a:pt x="96" y="152"/>
                  </a:lnTo>
                  <a:lnTo>
                    <a:pt x="98" y="158"/>
                  </a:lnTo>
                  <a:lnTo>
                    <a:pt x="96" y="166"/>
                  </a:lnTo>
                  <a:lnTo>
                    <a:pt x="84" y="168"/>
                  </a:lnTo>
                  <a:lnTo>
                    <a:pt x="84" y="158"/>
                  </a:lnTo>
                  <a:lnTo>
                    <a:pt x="86" y="156"/>
                  </a:lnTo>
                  <a:lnTo>
                    <a:pt x="88" y="144"/>
                  </a:lnTo>
                  <a:lnTo>
                    <a:pt x="76" y="134"/>
                  </a:lnTo>
                  <a:lnTo>
                    <a:pt x="66" y="136"/>
                  </a:lnTo>
                  <a:lnTo>
                    <a:pt x="62" y="126"/>
                  </a:lnTo>
                  <a:lnTo>
                    <a:pt x="58" y="124"/>
                  </a:lnTo>
                  <a:lnTo>
                    <a:pt x="54" y="128"/>
                  </a:lnTo>
                  <a:lnTo>
                    <a:pt x="50" y="120"/>
                  </a:lnTo>
                  <a:lnTo>
                    <a:pt x="44" y="126"/>
                  </a:lnTo>
                  <a:lnTo>
                    <a:pt x="40" y="126"/>
                  </a:lnTo>
                  <a:lnTo>
                    <a:pt x="34" y="126"/>
                  </a:lnTo>
                  <a:lnTo>
                    <a:pt x="34" y="130"/>
                  </a:lnTo>
                  <a:lnTo>
                    <a:pt x="26" y="130"/>
                  </a:lnTo>
                  <a:lnTo>
                    <a:pt x="18" y="130"/>
                  </a:lnTo>
                  <a:lnTo>
                    <a:pt x="10" y="126"/>
                  </a:lnTo>
                  <a:lnTo>
                    <a:pt x="8" y="122"/>
                  </a:lnTo>
                  <a:lnTo>
                    <a:pt x="0" y="116"/>
                  </a:lnTo>
                  <a:lnTo>
                    <a:pt x="14" y="102"/>
                  </a:lnTo>
                  <a:lnTo>
                    <a:pt x="28" y="84"/>
                  </a:lnTo>
                  <a:lnTo>
                    <a:pt x="34" y="74"/>
                  </a:lnTo>
                  <a:lnTo>
                    <a:pt x="44" y="42"/>
                  </a:lnTo>
                  <a:lnTo>
                    <a:pt x="46" y="38"/>
                  </a:lnTo>
                  <a:lnTo>
                    <a:pt x="58" y="36"/>
                  </a:lnTo>
                  <a:lnTo>
                    <a:pt x="64" y="42"/>
                  </a:lnTo>
                  <a:lnTo>
                    <a:pt x="66" y="50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8" y="68"/>
                  </a:lnTo>
                  <a:lnTo>
                    <a:pt x="56" y="72"/>
                  </a:lnTo>
                  <a:lnTo>
                    <a:pt x="76" y="78"/>
                  </a:lnTo>
                  <a:lnTo>
                    <a:pt x="80" y="72"/>
                  </a:lnTo>
                  <a:lnTo>
                    <a:pt x="86" y="68"/>
                  </a:lnTo>
                  <a:lnTo>
                    <a:pt x="88" y="56"/>
                  </a:lnTo>
                  <a:lnTo>
                    <a:pt x="80" y="56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0" y="40"/>
                  </a:lnTo>
                  <a:lnTo>
                    <a:pt x="72" y="30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16"/>
                  </a:lnTo>
                  <a:lnTo>
                    <a:pt x="82" y="12"/>
                  </a:lnTo>
                  <a:lnTo>
                    <a:pt x="94" y="4"/>
                  </a:lnTo>
                  <a:lnTo>
                    <a:pt x="106" y="6"/>
                  </a:lnTo>
                  <a:lnTo>
                    <a:pt x="124" y="0"/>
                  </a:lnTo>
                  <a:lnTo>
                    <a:pt x="128" y="8"/>
                  </a:lnTo>
                  <a:lnTo>
                    <a:pt x="134" y="10"/>
                  </a:lnTo>
                  <a:lnTo>
                    <a:pt x="136" y="16"/>
                  </a:lnTo>
                  <a:lnTo>
                    <a:pt x="140" y="1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19">
              <a:extLst>
                <a:ext uri="{FF2B5EF4-FFF2-40B4-BE49-F238E27FC236}">
                  <a16:creationId xmlns:a16="http://schemas.microsoft.com/office/drawing/2014/main" id="{E10F7F57-359E-4930-86E1-BF719502F19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9775" y="4414838"/>
              <a:ext cx="244475" cy="190500"/>
            </a:xfrm>
            <a:custGeom>
              <a:avLst/>
              <a:gdLst>
                <a:gd name="T0" fmla="*/ 74 w 146"/>
                <a:gd name="T1" fmla="*/ 33 h 122"/>
                <a:gd name="T2" fmla="*/ 145 w 146"/>
                <a:gd name="T3" fmla="*/ 33 h 122"/>
                <a:gd name="T4" fmla="*/ 192 w 146"/>
                <a:gd name="T5" fmla="*/ 15 h 122"/>
                <a:gd name="T6" fmla="*/ 258 w 146"/>
                <a:gd name="T7" fmla="*/ 28 h 122"/>
                <a:gd name="T8" fmla="*/ 291 w 146"/>
                <a:gd name="T9" fmla="*/ 15 h 122"/>
                <a:gd name="T10" fmla="*/ 329 w 146"/>
                <a:gd name="T11" fmla="*/ 15 h 122"/>
                <a:gd name="T12" fmla="*/ 368 w 146"/>
                <a:gd name="T13" fmla="*/ 21 h 122"/>
                <a:gd name="T14" fmla="*/ 401 w 146"/>
                <a:gd name="T15" fmla="*/ 15 h 122"/>
                <a:gd name="T16" fmla="*/ 456 w 146"/>
                <a:gd name="T17" fmla="*/ 39 h 122"/>
                <a:gd name="T18" fmla="*/ 497 w 146"/>
                <a:gd name="T19" fmla="*/ 98 h 122"/>
                <a:gd name="T20" fmla="*/ 489 w 146"/>
                <a:gd name="T21" fmla="*/ 130 h 122"/>
                <a:gd name="T22" fmla="*/ 561 w 146"/>
                <a:gd name="T23" fmla="*/ 137 h 122"/>
                <a:gd name="T24" fmla="*/ 585 w 146"/>
                <a:gd name="T25" fmla="*/ 201 h 122"/>
                <a:gd name="T26" fmla="*/ 537 w 146"/>
                <a:gd name="T27" fmla="*/ 222 h 122"/>
                <a:gd name="T28" fmla="*/ 513 w 146"/>
                <a:gd name="T29" fmla="*/ 238 h 122"/>
                <a:gd name="T30" fmla="*/ 497 w 146"/>
                <a:gd name="T31" fmla="*/ 288 h 122"/>
                <a:gd name="T32" fmla="*/ 505 w 146"/>
                <a:gd name="T33" fmla="*/ 326 h 122"/>
                <a:gd name="T34" fmla="*/ 456 w 146"/>
                <a:gd name="T35" fmla="*/ 330 h 122"/>
                <a:gd name="T36" fmla="*/ 416 w 146"/>
                <a:gd name="T37" fmla="*/ 299 h 122"/>
                <a:gd name="T38" fmla="*/ 359 w 146"/>
                <a:gd name="T39" fmla="*/ 281 h 122"/>
                <a:gd name="T40" fmla="*/ 353 w 146"/>
                <a:gd name="T41" fmla="*/ 255 h 122"/>
                <a:gd name="T42" fmla="*/ 343 w 146"/>
                <a:gd name="T43" fmla="*/ 234 h 122"/>
                <a:gd name="T44" fmla="*/ 294 w 146"/>
                <a:gd name="T45" fmla="*/ 255 h 122"/>
                <a:gd name="T46" fmla="*/ 248 w 146"/>
                <a:gd name="T47" fmla="*/ 255 h 122"/>
                <a:gd name="T48" fmla="*/ 248 w 146"/>
                <a:gd name="T49" fmla="*/ 227 h 122"/>
                <a:gd name="T50" fmla="*/ 232 w 146"/>
                <a:gd name="T51" fmla="*/ 194 h 122"/>
                <a:gd name="T52" fmla="*/ 175 w 146"/>
                <a:gd name="T53" fmla="*/ 194 h 122"/>
                <a:gd name="T54" fmla="*/ 126 w 146"/>
                <a:gd name="T55" fmla="*/ 168 h 122"/>
                <a:gd name="T56" fmla="*/ 106 w 146"/>
                <a:gd name="T57" fmla="*/ 130 h 122"/>
                <a:gd name="T58" fmla="*/ 63 w 146"/>
                <a:gd name="T59" fmla="*/ 130 h 122"/>
                <a:gd name="T60" fmla="*/ 32 w 146"/>
                <a:gd name="T61" fmla="*/ 125 h 122"/>
                <a:gd name="T62" fmla="*/ 0 w 146"/>
                <a:gd name="T63" fmla="*/ 72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122"/>
                <a:gd name="T98" fmla="*/ 146 w 146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122">
                  <a:moveTo>
                    <a:pt x="0" y="26"/>
                  </a:moveTo>
                  <a:lnTo>
                    <a:pt x="18" y="12"/>
                  </a:lnTo>
                  <a:lnTo>
                    <a:pt x="26" y="8"/>
                  </a:lnTo>
                  <a:lnTo>
                    <a:pt x="36" y="12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56" y="10"/>
                  </a:lnTo>
                  <a:lnTo>
                    <a:pt x="64" y="10"/>
                  </a:lnTo>
                  <a:lnTo>
                    <a:pt x="72" y="1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8" y="0"/>
                  </a:lnTo>
                  <a:lnTo>
                    <a:pt x="92" y="8"/>
                  </a:lnTo>
                  <a:lnTo>
                    <a:pt x="96" y="4"/>
                  </a:lnTo>
                  <a:lnTo>
                    <a:pt x="100" y="6"/>
                  </a:lnTo>
                  <a:lnTo>
                    <a:pt x="104" y="16"/>
                  </a:lnTo>
                  <a:lnTo>
                    <a:pt x="114" y="14"/>
                  </a:lnTo>
                  <a:lnTo>
                    <a:pt x="126" y="24"/>
                  </a:lnTo>
                  <a:lnTo>
                    <a:pt x="124" y="36"/>
                  </a:lnTo>
                  <a:lnTo>
                    <a:pt x="122" y="38"/>
                  </a:lnTo>
                  <a:lnTo>
                    <a:pt x="122" y="48"/>
                  </a:lnTo>
                  <a:lnTo>
                    <a:pt x="134" y="46"/>
                  </a:lnTo>
                  <a:lnTo>
                    <a:pt x="140" y="50"/>
                  </a:lnTo>
                  <a:lnTo>
                    <a:pt x="144" y="62"/>
                  </a:lnTo>
                  <a:lnTo>
                    <a:pt x="146" y="74"/>
                  </a:lnTo>
                  <a:lnTo>
                    <a:pt x="138" y="84"/>
                  </a:lnTo>
                  <a:lnTo>
                    <a:pt x="134" y="82"/>
                  </a:lnTo>
                  <a:lnTo>
                    <a:pt x="132" y="84"/>
                  </a:lnTo>
                  <a:lnTo>
                    <a:pt x="128" y="88"/>
                  </a:lnTo>
                  <a:lnTo>
                    <a:pt x="124" y="96"/>
                  </a:lnTo>
                  <a:lnTo>
                    <a:pt x="124" y="106"/>
                  </a:lnTo>
                  <a:lnTo>
                    <a:pt x="130" y="110"/>
                  </a:lnTo>
                  <a:lnTo>
                    <a:pt x="126" y="120"/>
                  </a:lnTo>
                  <a:lnTo>
                    <a:pt x="126" y="118"/>
                  </a:lnTo>
                  <a:lnTo>
                    <a:pt x="114" y="122"/>
                  </a:lnTo>
                  <a:lnTo>
                    <a:pt x="112" y="116"/>
                  </a:lnTo>
                  <a:lnTo>
                    <a:pt x="104" y="110"/>
                  </a:lnTo>
                  <a:lnTo>
                    <a:pt x="100" y="106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88" y="94"/>
                  </a:lnTo>
                  <a:lnTo>
                    <a:pt x="90" y="84"/>
                  </a:lnTo>
                  <a:lnTo>
                    <a:pt x="86" y="86"/>
                  </a:lnTo>
                  <a:lnTo>
                    <a:pt x="82" y="94"/>
                  </a:lnTo>
                  <a:lnTo>
                    <a:pt x="74" y="94"/>
                  </a:lnTo>
                  <a:lnTo>
                    <a:pt x="68" y="96"/>
                  </a:lnTo>
                  <a:lnTo>
                    <a:pt x="62" y="94"/>
                  </a:lnTo>
                  <a:lnTo>
                    <a:pt x="64" y="88"/>
                  </a:lnTo>
                  <a:lnTo>
                    <a:pt x="62" y="84"/>
                  </a:lnTo>
                  <a:lnTo>
                    <a:pt x="64" y="76"/>
                  </a:lnTo>
                  <a:lnTo>
                    <a:pt x="58" y="72"/>
                  </a:lnTo>
                  <a:lnTo>
                    <a:pt x="48" y="70"/>
                  </a:lnTo>
                  <a:lnTo>
                    <a:pt x="44" y="72"/>
                  </a:lnTo>
                  <a:lnTo>
                    <a:pt x="42" y="62"/>
                  </a:lnTo>
                  <a:lnTo>
                    <a:pt x="32" y="62"/>
                  </a:lnTo>
                  <a:lnTo>
                    <a:pt x="30" y="60"/>
                  </a:lnTo>
                  <a:lnTo>
                    <a:pt x="26" y="48"/>
                  </a:lnTo>
                  <a:lnTo>
                    <a:pt x="24" y="42"/>
                  </a:lnTo>
                  <a:lnTo>
                    <a:pt x="16" y="48"/>
                  </a:lnTo>
                  <a:lnTo>
                    <a:pt x="14" y="50"/>
                  </a:lnTo>
                  <a:lnTo>
                    <a:pt x="8" y="46"/>
                  </a:lnTo>
                  <a:lnTo>
                    <a:pt x="4" y="38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20">
              <a:extLst>
                <a:ext uri="{FF2B5EF4-FFF2-40B4-BE49-F238E27FC236}">
                  <a16:creationId xmlns:a16="http://schemas.microsoft.com/office/drawing/2014/main" id="{2B3EA393-DA47-4CD4-9C56-68505E0618D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4525" y="3914775"/>
              <a:ext cx="368300" cy="266700"/>
            </a:xfrm>
            <a:custGeom>
              <a:avLst/>
              <a:gdLst>
                <a:gd name="T0" fmla="*/ 260 w 222"/>
                <a:gd name="T1" fmla="*/ 342 h 172"/>
                <a:gd name="T2" fmla="*/ 265 w 222"/>
                <a:gd name="T3" fmla="*/ 305 h 172"/>
                <a:gd name="T4" fmla="*/ 278 w 222"/>
                <a:gd name="T5" fmla="*/ 271 h 172"/>
                <a:gd name="T6" fmla="*/ 245 w 222"/>
                <a:gd name="T7" fmla="*/ 258 h 172"/>
                <a:gd name="T8" fmla="*/ 204 w 222"/>
                <a:gd name="T9" fmla="*/ 247 h 172"/>
                <a:gd name="T10" fmla="*/ 156 w 222"/>
                <a:gd name="T11" fmla="*/ 242 h 172"/>
                <a:gd name="T12" fmla="*/ 87 w 222"/>
                <a:gd name="T13" fmla="*/ 221 h 172"/>
                <a:gd name="T14" fmla="*/ 62 w 222"/>
                <a:gd name="T15" fmla="*/ 206 h 172"/>
                <a:gd name="T16" fmla="*/ 25 w 222"/>
                <a:gd name="T17" fmla="*/ 210 h 172"/>
                <a:gd name="T18" fmla="*/ 10 w 222"/>
                <a:gd name="T19" fmla="*/ 141 h 172"/>
                <a:gd name="T20" fmla="*/ 0 w 222"/>
                <a:gd name="T21" fmla="*/ 63 h 172"/>
                <a:gd name="T22" fmla="*/ 57 w 222"/>
                <a:gd name="T23" fmla="*/ 36 h 172"/>
                <a:gd name="T24" fmla="*/ 172 w 222"/>
                <a:gd name="T25" fmla="*/ 0 h 172"/>
                <a:gd name="T26" fmla="*/ 265 w 222"/>
                <a:gd name="T27" fmla="*/ 11 h 172"/>
                <a:gd name="T28" fmla="*/ 308 w 222"/>
                <a:gd name="T29" fmla="*/ 15 h 172"/>
                <a:gd name="T30" fmla="*/ 339 w 222"/>
                <a:gd name="T31" fmla="*/ 11 h 172"/>
                <a:gd name="T32" fmla="*/ 411 w 222"/>
                <a:gd name="T33" fmla="*/ 15 h 172"/>
                <a:gd name="T34" fmla="*/ 479 w 222"/>
                <a:gd name="T35" fmla="*/ 31 h 172"/>
                <a:gd name="T36" fmla="*/ 542 w 222"/>
                <a:gd name="T37" fmla="*/ 26 h 172"/>
                <a:gd name="T38" fmla="*/ 601 w 222"/>
                <a:gd name="T39" fmla="*/ 0 h 172"/>
                <a:gd name="T40" fmla="*/ 647 w 222"/>
                <a:gd name="T41" fmla="*/ 47 h 172"/>
                <a:gd name="T42" fmla="*/ 733 w 222"/>
                <a:gd name="T43" fmla="*/ 74 h 172"/>
                <a:gd name="T44" fmla="*/ 796 w 222"/>
                <a:gd name="T45" fmla="*/ 117 h 172"/>
                <a:gd name="T46" fmla="*/ 851 w 222"/>
                <a:gd name="T47" fmla="*/ 137 h 172"/>
                <a:gd name="T48" fmla="*/ 843 w 222"/>
                <a:gd name="T49" fmla="*/ 175 h 172"/>
                <a:gd name="T50" fmla="*/ 851 w 222"/>
                <a:gd name="T51" fmla="*/ 198 h 172"/>
                <a:gd name="T52" fmla="*/ 866 w 222"/>
                <a:gd name="T53" fmla="*/ 210 h 172"/>
                <a:gd name="T54" fmla="*/ 851 w 222"/>
                <a:gd name="T55" fmla="*/ 236 h 172"/>
                <a:gd name="T56" fmla="*/ 828 w 222"/>
                <a:gd name="T57" fmla="*/ 230 h 172"/>
                <a:gd name="T58" fmla="*/ 796 w 222"/>
                <a:gd name="T59" fmla="*/ 247 h 172"/>
                <a:gd name="T60" fmla="*/ 740 w 222"/>
                <a:gd name="T61" fmla="*/ 261 h 172"/>
                <a:gd name="T62" fmla="*/ 719 w 222"/>
                <a:gd name="T63" fmla="*/ 295 h 172"/>
                <a:gd name="T64" fmla="*/ 719 w 222"/>
                <a:gd name="T65" fmla="*/ 331 h 172"/>
                <a:gd name="T66" fmla="*/ 694 w 222"/>
                <a:gd name="T67" fmla="*/ 362 h 172"/>
                <a:gd name="T68" fmla="*/ 719 w 222"/>
                <a:gd name="T69" fmla="*/ 372 h 172"/>
                <a:gd name="T70" fmla="*/ 703 w 222"/>
                <a:gd name="T71" fmla="*/ 405 h 172"/>
                <a:gd name="T72" fmla="*/ 687 w 222"/>
                <a:gd name="T73" fmla="*/ 382 h 172"/>
                <a:gd name="T74" fmla="*/ 662 w 222"/>
                <a:gd name="T75" fmla="*/ 389 h 172"/>
                <a:gd name="T76" fmla="*/ 613 w 222"/>
                <a:gd name="T77" fmla="*/ 405 h 172"/>
                <a:gd name="T78" fmla="*/ 573 w 222"/>
                <a:gd name="T79" fmla="*/ 409 h 172"/>
                <a:gd name="T80" fmla="*/ 566 w 222"/>
                <a:gd name="T81" fmla="*/ 436 h 172"/>
                <a:gd name="T82" fmla="*/ 512 w 222"/>
                <a:gd name="T83" fmla="*/ 450 h 172"/>
                <a:gd name="T84" fmla="*/ 479 w 222"/>
                <a:gd name="T85" fmla="*/ 436 h 172"/>
                <a:gd name="T86" fmla="*/ 426 w 222"/>
                <a:gd name="T87" fmla="*/ 447 h 172"/>
                <a:gd name="T88" fmla="*/ 387 w 222"/>
                <a:gd name="T89" fmla="*/ 438 h 172"/>
                <a:gd name="T90" fmla="*/ 369 w 222"/>
                <a:gd name="T91" fmla="*/ 416 h 172"/>
                <a:gd name="T92" fmla="*/ 308 w 222"/>
                <a:gd name="T93" fmla="*/ 358 h 1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2"/>
                <a:gd name="T142" fmla="*/ 0 h 172"/>
                <a:gd name="T143" fmla="*/ 222 w 222"/>
                <a:gd name="T144" fmla="*/ 172 h 1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2" h="172">
                  <a:moveTo>
                    <a:pt x="66" y="136"/>
                  </a:moveTo>
                  <a:lnTo>
                    <a:pt x="66" y="134"/>
                  </a:lnTo>
                  <a:lnTo>
                    <a:pt x="66" y="130"/>
                  </a:lnTo>
                  <a:lnTo>
                    <a:pt x="66" y="126"/>
                  </a:lnTo>
                  <a:lnTo>
                    <a:pt x="66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70" y="104"/>
                  </a:lnTo>
                  <a:lnTo>
                    <a:pt x="68" y="102"/>
                  </a:lnTo>
                  <a:lnTo>
                    <a:pt x="64" y="100"/>
                  </a:lnTo>
                  <a:lnTo>
                    <a:pt x="62" y="98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2" y="94"/>
                  </a:lnTo>
                  <a:lnTo>
                    <a:pt x="44" y="9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0" y="90"/>
                  </a:lnTo>
                  <a:lnTo>
                    <a:pt x="26" y="88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8" y="82"/>
                  </a:lnTo>
                  <a:lnTo>
                    <a:pt x="6" y="80"/>
                  </a:lnTo>
                  <a:lnTo>
                    <a:pt x="10" y="80"/>
                  </a:lnTo>
                  <a:lnTo>
                    <a:pt x="10" y="7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28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10" y="18"/>
                  </a:lnTo>
                  <a:lnTo>
                    <a:pt x="14" y="14"/>
                  </a:lnTo>
                  <a:lnTo>
                    <a:pt x="22" y="10"/>
                  </a:lnTo>
                  <a:lnTo>
                    <a:pt x="32" y="6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2" y="2"/>
                  </a:lnTo>
                  <a:lnTo>
                    <a:pt x="76" y="2"/>
                  </a:lnTo>
                  <a:lnTo>
                    <a:pt x="78" y="6"/>
                  </a:lnTo>
                  <a:lnTo>
                    <a:pt x="80" y="8"/>
                  </a:lnTo>
                  <a:lnTo>
                    <a:pt x="84" y="6"/>
                  </a:lnTo>
                  <a:lnTo>
                    <a:pt x="86" y="4"/>
                  </a:lnTo>
                  <a:lnTo>
                    <a:pt x="92" y="6"/>
                  </a:lnTo>
                  <a:lnTo>
                    <a:pt x="98" y="8"/>
                  </a:lnTo>
                  <a:lnTo>
                    <a:pt x="104" y="6"/>
                  </a:lnTo>
                  <a:lnTo>
                    <a:pt x="114" y="6"/>
                  </a:lnTo>
                  <a:lnTo>
                    <a:pt x="118" y="10"/>
                  </a:lnTo>
                  <a:lnTo>
                    <a:pt x="122" y="12"/>
                  </a:lnTo>
                  <a:lnTo>
                    <a:pt x="128" y="10"/>
                  </a:lnTo>
                  <a:lnTo>
                    <a:pt x="132" y="10"/>
                  </a:lnTo>
                  <a:lnTo>
                    <a:pt x="138" y="10"/>
                  </a:lnTo>
                  <a:lnTo>
                    <a:pt x="144" y="4"/>
                  </a:lnTo>
                  <a:lnTo>
                    <a:pt x="148" y="2"/>
                  </a:lnTo>
                  <a:lnTo>
                    <a:pt x="152" y="0"/>
                  </a:lnTo>
                  <a:lnTo>
                    <a:pt x="152" y="10"/>
                  </a:lnTo>
                  <a:lnTo>
                    <a:pt x="158" y="14"/>
                  </a:lnTo>
                  <a:lnTo>
                    <a:pt x="164" y="18"/>
                  </a:lnTo>
                  <a:lnTo>
                    <a:pt x="174" y="20"/>
                  </a:lnTo>
                  <a:lnTo>
                    <a:pt x="180" y="20"/>
                  </a:lnTo>
                  <a:lnTo>
                    <a:pt x="186" y="28"/>
                  </a:lnTo>
                  <a:lnTo>
                    <a:pt x="194" y="34"/>
                  </a:lnTo>
                  <a:lnTo>
                    <a:pt x="200" y="40"/>
                  </a:lnTo>
                  <a:lnTo>
                    <a:pt x="202" y="44"/>
                  </a:lnTo>
                  <a:lnTo>
                    <a:pt x="204" y="48"/>
                  </a:lnTo>
                  <a:lnTo>
                    <a:pt x="210" y="52"/>
                  </a:lnTo>
                  <a:lnTo>
                    <a:pt x="216" y="52"/>
                  </a:lnTo>
                  <a:lnTo>
                    <a:pt x="216" y="58"/>
                  </a:lnTo>
                  <a:lnTo>
                    <a:pt x="214" y="62"/>
                  </a:lnTo>
                  <a:lnTo>
                    <a:pt x="214" y="66"/>
                  </a:lnTo>
                  <a:lnTo>
                    <a:pt x="212" y="70"/>
                  </a:lnTo>
                  <a:lnTo>
                    <a:pt x="210" y="74"/>
                  </a:lnTo>
                  <a:lnTo>
                    <a:pt x="216" y="76"/>
                  </a:lnTo>
                  <a:lnTo>
                    <a:pt x="220" y="76"/>
                  </a:lnTo>
                  <a:lnTo>
                    <a:pt x="222" y="78"/>
                  </a:lnTo>
                  <a:lnTo>
                    <a:pt x="220" y="80"/>
                  </a:lnTo>
                  <a:lnTo>
                    <a:pt x="218" y="80"/>
                  </a:lnTo>
                  <a:lnTo>
                    <a:pt x="216" y="84"/>
                  </a:lnTo>
                  <a:lnTo>
                    <a:pt x="216" y="90"/>
                  </a:lnTo>
                  <a:lnTo>
                    <a:pt x="214" y="90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02" y="88"/>
                  </a:lnTo>
                  <a:lnTo>
                    <a:pt x="202" y="94"/>
                  </a:lnTo>
                  <a:lnTo>
                    <a:pt x="200" y="98"/>
                  </a:lnTo>
                  <a:lnTo>
                    <a:pt x="194" y="100"/>
                  </a:lnTo>
                  <a:lnTo>
                    <a:pt x="188" y="100"/>
                  </a:lnTo>
                  <a:lnTo>
                    <a:pt x="186" y="104"/>
                  </a:lnTo>
                  <a:lnTo>
                    <a:pt x="184" y="108"/>
                  </a:lnTo>
                  <a:lnTo>
                    <a:pt x="182" y="112"/>
                  </a:lnTo>
                  <a:lnTo>
                    <a:pt x="180" y="118"/>
                  </a:lnTo>
                  <a:lnTo>
                    <a:pt x="182" y="122"/>
                  </a:lnTo>
                  <a:lnTo>
                    <a:pt x="182" y="126"/>
                  </a:lnTo>
                  <a:lnTo>
                    <a:pt x="178" y="132"/>
                  </a:lnTo>
                  <a:lnTo>
                    <a:pt x="178" y="136"/>
                  </a:lnTo>
                  <a:lnTo>
                    <a:pt x="176" y="138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82" y="142"/>
                  </a:lnTo>
                  <a:lnTo>
                    <a:pt x="184" y="150"/>
                  </a:lnTo>
                  <a:lnTo>
                    <a:pt x="182" y="154"/>
                  </a:lnTo>
                  <a:lnTo>
                    <a:pt x="178" y="154"/>
                  </a:lnTo>
                  <a:lnTo>
                    <a:pt x="174" y="154"/>
                  </a:lnTo>
                  <a:lnTo>
                    <a:pt x="174" y="148"/>
                  </a:lnTo>
                  <a:lnTo>
                    <a:pt x="174" y="146"/>
                  </a:lnTo>
                  <a:lnTo>
                    <a:pt x="172" y="144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2" y="148"/>
                  </a:lnTo>
                  <a:lnTo>
                    <a:pt x="160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0" y="154"/>
                  </a:lnTo>
                  <a:lnTo>
                    <a:pt x="146" y="156"/>
                  </a:lnTo>
                  <a:lnTo>
                    <a:pt x="148" y="162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6"/>
                  </a:lnTo>
                  <a:lnTo>
                    <a:pt x="138" y="166"/>
                  </a:lnTo>
                  <a:lnTo>
                    <a:pt x="130" y="172"/>
                  </a:lnTo>
                  <a:lnTo>
                    <a:pt x="126" y="172"/>
                  </a:lnTo>
                  <a:lnTo>
                    <a:pt x="124" y="168"/>
                  </a:lnTo>
                  <a:lnTo>
                    <a:pt x="122" y="166"/>
                  </a:lnTo>
                  <a:lnTo>
                    <a:pt x="118" y="168"/>
                  </a:lnTo>
                  <a:lnTo>
                    <a:pt x="112" y="168"/>
                  </a:lnTo>
                  <a:lnTo>
                    <a:pt x="108" y="170"/>
                  </a:lnTo>
                  <a:lnTo>
                    <a:pt x="102" y="168"/>
                  </a:lnTo>
                  <a:lnTo>
                    <a:pt x="100" y="170"/>
                  </a:lnTo>
                  <a:lnTo>
                    <a:pt x="98" y="168"/>
                  </a:lnTo>
                  <a:lnTo>
                    <a:pt x="96" y="164"/>
                  </a:lnTo>
                  <a:lnTo>
                    <a:pt x="96" y="162"/>
                  </a:lnTo>
                  <a:lnTo>
                    <a:pt x="94" y="158"/>
                  </a:lnTo>
                  <a:lnTo>
                    <a:pt x="90" y="142"/>
                  </a:lnTo>
                  <a:lnTo>
                    <a:pt x="78" y="136"/>
                  </a:lnTo>
                  <a:lnTo>
                    <a:pt x="66" y="13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21">
              <a:extLst>
                <a:ext uri="{FF2B5EF4-FFF2-40B4-BE49-F238E27FC236}">
                  <a16:creationId xmlns:a16="http://schemas.microsoft.com/office/drawing/2014/main" id="{97C73E54-5B01-48F3-A14E-0C514F9025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7738" y="4543425"/>
              <a:ext cx="49212" cy="65087"/>
            </a:xfrm>
            <a:custGeom>
              <a:avLst/>
              <a:gdLst>
                <a:gd name="T0" fmla="*/ 2 w 30"/>
                <a:gd name="T1" fmla="*/ 83 h 42"/>
                <a:gd name="T2" fmla="*/ 21 w 30"/>
                <a:gd name="T3" fmla="*/ 63 h 42"/>
                <a:gd name="T4" fmla="*/ 0 w 30"/>
                <a:gd name="T5" fmla="*/ 53 h 42"/>
                <a:gd name="T6" fmla="*/ 0 w 30"/>
                <a:gd name="T7" fmla="*/ 31 h 42"/>
                <a:gd name="T8" fmla="*/ 14 w 30"/>
                <a:gd name="T9" fmla="*/ 13 h 42"/>
                <a:gd name="T10" fmla="*/ 28 w 30"/>
                <a:gd name="T11" fmla="*/ 2 h 42"/>
                <a:gd name="T12" fmla="*/ 35 w 30"/>
                <a:gd name="T13" fmla="*/ 0 h 42"/>
                <a:gd name="T14" fmla="*/ 48 w 30"/>
                <a:gd name="T15" fmla="*/ 2 h 42"/>
                <a:gd name="T16" fmla="*/ 48 w 30"/>
                <a:gd name="T17" fmla="*/ 22 h 42"/>
                <a:gd name="T18" fmla="*/ 78 w 30"/>
                <a:gd name="T19" fmla="*/ 40 h 42"/>
                <a:gd name="T20" fmla="*/ 106 w 30"/>
                <a:gd name="T21" fmla="*/ 45 h 42"/>
                <a:gd name="T22" fmla="*/ 106 w 30"/>
                <a:gd name="T23" fmla="*/ 63 h 42"/>
                <a:gd name="T24" fmla="*/ 86 w 30"/>
                <a:gd name="T25" fmla="*/ 72 h 42"/>
                <a:gd name="T26" fmla="*/ 90 w 30"/>
                <a:gd name="T27" fmla="*/ 94 h 42"/>
                <a:gd name="T28" fmla="*/ 86 w 30"/>
                <a:gd name="T29" fmla="*/ 91 h 42"/>
                <a:gd name="T30" fmla="*/ 48 w 30"/>
                <a:gd name="T31" fmla="*/ 91 h 42"/>
                <a:gd name="T32" fmla="*/ 2 w 30"/>
                <a:gd name="T33" fmla="*/ 83 h 42"/>
                <a:gd name="T34" fmla="*/ 2 w 30"/>
                <a:gd name="T35" fmla="*/ 83 h 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42"/>
                <a:gd name="T56" fmla="*/ 30 w 30"/>
                <a:gd name="T57" fmla="*/ 42 h 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42">
                  <a:moveTo>
                    <a:pt x="2" y="38"/>
                  </a:moveTo>
                  <a:lnTo>
                    <a:pt x="6" y="28"/>
                  </a:lnTo>
                  <a:lnTo>
                    <a:pt x="0" y="24"/>
                  </a:lnTo>
                  <a:lnTo>
                    <a:pt x="0" y="14"/>
                  </a:lnTo>
                  <a:lnTo>
                    <a:pt x="4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4" y="10"/>
                  </a:lnTo>
                  <a:lnTo>
                    <a:pt x="22" y="18"/>
                  </a:lnTo>
                  <a:lnTo>
                    <a:pt x="30" y="20"/>
                  </a:lnTo>
                  <a:lnTo>
                    <a:pt x="30" y="28"/>
                  </a:lnTo>
                  <a:lnTo>
                    <a:pt x="24" y="32"/>
                  </a:lnTo>
                  <a:lnTo>
                    <a:pt x="26" y="42"/>
                  </a:lnTo>
                  <a:lnTo>
                    <a:pt x="24" y="40"/>
                  </a:lnTo>
                  <a:lnTo>
                    <a:pt x="14" y="40"/>
                  </a:lnTo>
                  <a:lnTo>
                    <a:pt x="2" y="3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22">
              <a:extLst>
                <a:ext uri="{FF2B5EF4-FFF2-40B4-BE49-F238E27FC236}">
                  <a16:creationId xmlns:a16="http://schemas.microsoft.com/office/drawing/2014/main" id="{CD061BE0-06D7-460C-953B-99F3EC0829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900" y="4456113"/>
              <a:ext cx="419100" cy="233362"/>
            </a:xfrm>
            <a:custGeom>
              <a:avLst/>
              <a:gdLst>
                <a:gd name="T0" fmla="*/ 212 w 254"/>
                <a:gd name="T1" fmla="*/ 329 h 150"/>
                <a:gd name="T2" fmla="*/ 173 w 254"/>
                <a:gd name="T3" fmla="*/ 314 h 150"/>
                <a:gd name="T4" fmla="*/ 89 w 254"/>
                <a:gd name="T5" fmla="*/ 268 h 150"/>
                <a:gd name="T6" fmla="*/ 46 w 254"/>
                <a:gd name="T7" fmla="*/ 221 h 150"/>
                <a:gd name="T8" fmla="*/ 50 w 254"/>
                <a:gd name="T9" fmla="*/ 167 h 150"/>
                <a:gd name="T10" fmla="*/ 0 w 254"/>
                <a:gd name="T11" fmla="*/ 130 h 150"/>
                <a:gd name="T12" fmla="*/ 50 w 254"/>
                <a:gd name="T13" fmla="*/ 109 h 150"/>
                <a:gd name="T14" fmla="*/ 111 w 254"/>
                <a:gd name="T15" fmla="*/ 86 h 150"/>
                <a:gd name="T16" fmla="*/ 173 w 254"/>
                <a:gd name="T17" fmla="*/ 63 h 150"/>
                <a:gd name="T18" fmla="*/ 243 w 254"/>
                <a:gd name="T19" fmla="*/ 47 h 150"/>
                <a:gd name="T20" fmla="*/ 293 w 254"/>
                <a:gd name="T21" fmla="*/ 26 h 150"/>
                <a:gd name="T22" fmla="*/ 324 w 254"/>
                <a:gd name="T23" fmla="*/ 0 h 150"/>
                <a:gd name="T24" fmla="*/ 369 w 254"/>
                <a:gd name="T25" fmla="*/ 31 h 150"/>
                <a:gd name="T26" fmla="*/ 408 w 254"/>
                <a:gd name="T27" fmla="*/ 15 h 150"/>
                <a:gd name="T28" fmla="*/ 429 w 254"/>
                <a:gd name="T29" fmla="*/ 0 h 150"/>
                <a:gd name="T30" fmla="*/ 477 w 254"/>
                <a:gd name="T31" fmla="*/ 36 h 150"/>
                <a:gd name="T32" fmla="*/ 528 w 254"/>
                <a:gd name="T33" fmla="*/ 57 h 150"/>
                <a:gd name="T34" fmla="*/ 583 w 254"/>
                <a:gd name="T35" fmla="*/ 63 h 150"/>
                <a:gd name="T36" fmla="*/ 612 w 254"/>
                <a:gd name="T37" fmla="*/ 74 h 150"/>
                <a:gd name="T38" fmla="*/ 583 w 254"/>
                <a:gd name="T39" fmla="*/ 93 h 150"/>
                <a:gd name="T40" fmla="*/ 658 w 254"/>
                <a:gd name="T41" fmla="*/ 145 h 150"/>
                <a:gd name="T42" fmla="*/ 683 w 254"/>
                <a:gd name="T43" fmla="*/ 104 h 150"/>
                <a:gd name="T44" fmla="*/ 734 w 254"/>
                <a:gd name="T45" fmla="*/ 109 h 150"/>
                <a:gd name="T46" fmla="*/ 779 w 254"/>
                <a:gd name="T47" fmla="*/ 136 h 150"/>
                <a:gd name="T48" fmla="*/ 802 w 254"/>
                <a:gd name="T49" fmla="*/ 164 h 150"/>
                <a:gd name="T50" fmla="*/ 869 w 254"/>
                <a:gd name="T51" fmla="*/ 167 h 150"/>
                <a:gd name="T52" fmla="*/ 930 w 254"/>
                <a:gd name="T53" fmla="*/ 208 h 150"/>
                <a:gd name="T54" fmla="*/ 961 w 254"/>
                <a:gd name="T55" fmla="*/ 233 h 150"/>
                <a:gd name="T56" fmla="*/ 942 w 254"/>
                <a:gd name="T57" fmla="*/ 241 h 150"/>
                <a:gd name="T58" fmla="*/ 925 w 254"/>
                <a:gd name="T59" fmla="*/ 244 h 150"/>
                <a:gd name="T60" fmla="*/ 900 w 254"/>
                <a:gd name="T61" fmla="*/ 260 h 150"/>
                <a:gd name="T62" fmla="*/ 879 w 254"/>
                <a:gd name="T63" fmla="*/ 271 h 150"/>
                <a:gd name="T64" fmla="*/ 862 w 254"/>
                <a:gd name="T65" fmla="*/ 283 h 150"/>
                <a:gd name="T66" fmla="*/ 854 w 254"/>
                <a:gd name="T67" fmla="*/ 307 h 150"/>
                <a:gd name="T68" fmla="*/ 831 w 254"/>
                <a:gd name="T69" fmla="*/ 314 h 150"/>
                <a:gd name="T70" fmla="*/ 822 w 254"/>
                <a:gd name="T71" fmla="*/ 329 h 150"/>
                <a:gd name="T72" fmla="*/ 809 w 254"/>
                <a:gd name="T73" fmla="*/ 334 h 150"/>
                <a:gd name="T74" fmla="*/ 785 w 254"/>
                <a:gd name="T75" fmla="*/ 341 h 150"/>
                <a:gd name="T76" fmla="*/ 764 w 254"/>
                <a:gd name="T77" fmla="*/ 346 h 150"/>
                <a:gd name="T78" fmla="*/ 755 w 254"/>
                <a:gd name="T79" fmla="*/ 346 h 150"/>
                <a:gd name="T80" fmla="*/ 728 w 254"/>
                <a:gd name="T81" fmla="*/ 334 h 150"/>
                <a:gd name="T82" fmla="*/ 711 w 254"/>
                <a:gd name="T83" fmla="*/ 346 h 150"/>
                <a:gd name="T84" fmla="*/ 696 w 254"/>
                <a:gd name="T85" fmla="*/ 364 h 150"/>
                <a:gd name="T86" fmla="*/ 683 w 254"/>
                <a:gd name="T87" fmla="*/ 372 h 150"/>
                <a:gd name="T88" fmla="*/ 490 w 254"/>
                <a:gd name="T89" fmla="*/ 348 h 150"/>
                <a:gd name="T90" fmla="*/ 316 w 254"/>
                <a:gd name="T91" fmla="*/ 392 h 150"/>
                <a:gd name="T92" fmla="*/ 247 w 254"/>
                <a:gd name="T93" fmla="*/ 374 h 15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150"/>
                <a:gd name="T143" fmla="*/ 254 w 254"/>
                <a:gd name="T144" fmla="*/ 150 h 15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150">
                  <a:moveTo>
                    <a:pt x="66" y="144"/>
                  </a:moveTo>
                  <a:lnTo>
                    <a:pt x="58" y="128"/>
                  </a:lnTo>
                  <a:lnTo>
                    <a:pt x="56" y="126"/>
                  </a:lnTo>
                  <a:lnTo>
                    <a:pt x="52" y="122"/>
                  </a:lnTo>
                  <a:lnTo>
                    <a:pt x="48" y="124"/>
                  </a:lnTo>
                  <a:lnTo>
                    <a:pt x="46" y="120"/>
                  </a:lnTo>
                  <a:lnTo>
                    <a:pt x="38" y="114"/>
                  </a:lnTo>
                  <a:lnTo>
                    <a:pt x="28" y="100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8" y="82"/>
                  </a:lnTo>
                  <a:lnTo>
                    <a:pt x="10" y="72"/>
                  </a:lnTo>
                  <a:lnTo>
                    <a:pt x="14" y="64"/>
                  </a:lnTo>
                  <a:lnTo>
                    <a:pt x="6" y="6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6" y="46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2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0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64" y="18"/>
                  </a:lnTo>
                  <a:lnTo>
                    <a:pt x="66" y="14"/>
                  </a:lnTo>
                  <a:lnTo>
                    <a:pt x="74" y="12"/>
                  </a:lnTo>
                  <a:lnTo>
                    <a:pt x="78" y="10"/>
                  </a:lnTo>
                  <a:lnTo>
                    <a:pt x="84" y="8"/>
                  </a:lnTo>
                  <a:lnTo>
                    <a:pt x="78" y="2"/>
                  </a:lnTo>
                  <a:lnTo>
                    <a:pt x="86" y="0"/>
                  </a:lnTo>
                  <a:lnTo>
                    <a:pt x="92" y="4"/>
                  </a:lnTo>
                  <a:lnTo>
                    <a:pt x="92" y="12"/>
                  </a:lnTo>
                  <a:lnTo>
                    <a:pt x="98" y="12"/>
                  </a:lnTo>
                  <a:lnTo>
                    <a:pt x="100" y="10"/>
                  </a:lnTo>
                  <a:lnTo>
                    <a:pt x="106" y="10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10"/>
                  </a:lnTo>
                  <a:lnTo>
                    <a:pt x="126" y="14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0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0" y="30"/>
                  </a:lnTo>
                  <a:lnTo>
                    <a:pt x="158" y="32"/>
                  </a:lnTo>
                  <a:lnTo>
                    <a:pt x="154" y="36"/>
                  </a:lnTo>
                  <a:lnTo>
                    <a:pt x="162" y="44"/>
                  </a:lnTo>
                  <a:lnTo>
                    <a:pt x="168" y="54"/>
                  </a:lnTo>
                  <a:lnTo>
                    <a:pt x="174" y="56"/>
                  </a:lnTo>
                  <a:lnTo>
                    <a:pt x="176" y="50"/>
                  </a:lnTo>
                  <a:lnTo>
                    <a:pt x="184" y="48"/>
                  </a:lnTo>
                  <a:lnTo>
                    <a:pt x="180" y="40"/>
                  </a:lnTo>
                  <a:lnTo>
                    <a:pt x="180" y="36"/>
                  </a:lnTo>
                  <a:lnTo>
                    <a:pt x="184" y="36"/>
                  </a:lnTo>
                  <a:lnTo>
                    <a:pt x="194" y="42"/>
                  </a:lnTo>
                  <a:lnTo>
                    <a:pt x="198" y="44"/>
                  </a:lnTo>
                  <a:lnTo>
                    <a:pt x="210" y="44"/>
                  </a:lnTo>
                  <a:lnTo>
                    <a:pt x="206" y="52"/>
                  </a:lnTo>
                  <a:lnTo>
                    <a:pt x="212" y="50"/>
                  </a:lnTo>
                  <a:lnTo>
                    <a:pt x="212" y="56"/>
                  </a:lnTo>
                  <a:lnTo>
                    <a:pt x="212" y="62"/>
                  </a:lnTo>
                  <a:lnTo>
                    <a:pt x="218" y="64"/>
                  </a:lnTo>
                  <a:lnTo>
                    <a:pt x="224" y="60"/>
                  </a:lnTo>
                  <a:lnTo>
                    <a:pt x="230" y="64"/>
                  </a:lnTo>
                  <a:lnTo>
                    <a:pt x="244" y="68"/>
                  </a:lnTo>
                  <a:lnTo>
                    <a:pt x="242" y="74"/>
                  </a:lnTo>
                  <a:lnTo>
                    <a:pt x="246" y="80"/>
                  </a:lnTo>
                  <a:lnTo>
                    <a:pt x="252" y="82"/>
                  </a:lnTo>
                  <a:lnTo>
                    <a:pt x="254" y="90"/>
                  </a:lnTo>
                  <a:lnTo>
                    <a:pt x="252" y="92"/>
                  </a:lnTo>
                  <a:lnTo>
                    <a:pt x="250" y="94"/>
                  </a:lnTo>
                  <a:lnTo>
                    <a:pt x="250" y="92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4"/>
                  </a:lnTo>
                  <a:lnTo>
                    <a:pt x="242" y="96"/>
                  </a:lnTo>
                  <a:lnTo>
                    <a:pt x="240" y="98"/>
                  </a:lnTo>
                  <a:lnTo>
                    <a:pt x="238" y="100"/>
                  </a:lnTo>
                  <a:lnTo>
                    <a:pt x="236" y="102"/>
                  </a:lnTo>
                  <a:lnTo>
                    <a:pt x="234" y="104"/>
                  </a:lnTo>
                  <a:lnTo>
                    <a:pt x="232" y="104"/>
                  </a:lnTo>
                  <a:lnTo>
                    <a:pt x="230" y="104"/>
                  </a:lnTo>
                  <a:lnTo>
                    <a:pt x="230" y="106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4" y="120"/>
                  </a:lnTo>
                  <a:lnTo>
                    <a:pt x="222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8" y="124"/>
                  </a:lnTo>
                  <a:lnTo>
                    <a:pt x="218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4" y="128"/>
                  </a:lnTo>
                  <a:lnTo>
                    <a:pt x="212" y="128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32"/>
                  </a:lnTo>
                  <a:lnTo>
                    <a:pt x="204" y="132"/>
                  </a:lnTo>
                  <a:lnTo>
                    <a:pt x="202" y="132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6" y="132"/>
                  </a:lnTo>
                  <a:lnTo>
                    <a:pt x="194" y="130"/>
                  </a:lnTo>
                  <a:lnTo>
                    <a:pt x="192" y="128"/>
                  </a:lnTo>
                  <a:lnTo>
                    <a:pt x="190" y="130"/>
                  </a:lnTo>
                  <a:lnTo>
                    <a:pt x="188" y="130"/>
                  </a:lnTo>
                  <a:lnTo>
                    <a:pt x="188" y="132"/>
                  </a:lnTo>
                  <a:lnTo>
                    <a:pt x="186" y="134"/>
                  </a:lnTo>
                  <a:lnTo>
                    <a:pt x="184" y="136"/>
                  </a:lnTo>
                  <a:lnTo>
                    <a:pt x="184" y="140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0" y="142"/>
                  </a:lnTo>
                  <a:lnTo>
                    <a:pt x="172" y="136"/>
                  </a:lnTo>
                  <a:lnTo>
                    <a:pt x="148" y="140"/>
                  </a:lnTo>
                  <a:lnTo>
                    <a:pt x="130" y="134"/>
                  </a:lnTo>
                  <a:lnTo>
                    <a:pt x="106" y="126"/>
                  </a:lnTo>
                  <a:lnTo>
                    <a:pt x="94" y="146"/>
                  </a:lnTo>
                  <a:lnTo>
                    <a:pt x="84" y="150"/>
                  </a:lnTo>
                  <a:lnTo>
                    <a:pt x="76" y="148"/>
                  </a:lnTo>
                  <a:lnTo>
                    <a:pt x="68" y="144"/>
                  </a:lnTo>
                  <a:lnTo>
                    <a:pt x="66" y="144"/>
                  </a:ln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3">
              <a:extLst>
                <a:ext uri="{FF2B5EF4-FFF2-40B4-BE49-F238E27FC236}">
                  <a16:creationId xmlns:a16="http://schemas.microsoft.com/office/drawing/2014/main" id="{5F129AED-39CB-4C6D-941A-F2059ACDAA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87963" y="4095750"/>
              <a:ext cx="639762" cy="546100"/>
            </a:xfrm>
            <a:custGeom>
              <a:avLst/>
              <a:gdLst>
                <a:gd name="T0" fmla="*/ 1181 w 386"/>
                <a:gd name="T1" fmla="*/ 887 h 352"/>
                <a:gd name="T2" fmla="*/ 1120 w 386"/>
                <a:gd name="T3" fmla="*/ 849 h 352"/>
                <a:gd name="T4" fmla="*/ 1041 w 386"/>
                <a:gd name="T5" fmla="*/ 867 h 352"/>
                <a:gd name="T6" fmla="*/ 954 w 386"/>
                <a:gd name="T7" fmla="*/ 860 h 352"/>
                <a:gd name="T8" fmla="*/ 893 w 386"/>
                <a:gd name="T9" fmla="*/ 887 h 352"/>
                <a:gd name="T10" fmla="*/ 846 w 386"/>
                <a:gd name="T11" fmla="*/ 889 h 352"/>
                <a:gd name="T12" fmla="*/ 846 w 386"/>
                <a:gd name="T13" fmla="*/ 860 h 352"/>
                <a:gd name="T14" fmla="*/ 808 w 386"/>
                <a:gd name="T15" fmla="*/ 833 h 352"/>
                <a:gd name="T16" fmla="*/ 769 w 386"/>
                <a:gd name="T17" fmla="*/ 841 h 352"/>
                <a:gd name="T18" fmla="*/ 731 w 386"/>
                <a:gd name="T19" fmla="*/ 845 h 352"/>
                <a:gd name="T20" fmla="*/ 675 w 386"/>
                <a:gd name="T21" fmla="*/ 812 h 352"/>
                <a:gd name="T22" fmla="*/ 613 w 386"/>
                <a:gd name="T23" fmla="*/ 772 h 352"/>
                <a:gd name="T24" fmla="*/ 545 w 386"/>
                <a:gd name="T25" fmla="*/ 767 h 352"/>
                <a:gd name="T26" fmla="*/ 522 w 386"/>
                <a:gd name="T27" fmla="*/ 742 h 352"/>
                <a:gd name="T28" fmla="*/ 475 w 386"/>
                <a:gd name="T29" fmla="*/ 715 h 352"/>
                <a:gd name="T30" fmla="*/ 419 w 386"/>
                <a:gd name="T31" fmla="*/ 709 h 352"/>
                <a:gd name="T32" fmla="*/ 396 w 386"/>
                <a:gd name="T33" fmla="*/ 753 h 352"/>
                <a:gd name="T34" fmla="*/ 320 w 386"/>
                <a:gd name="T35" fmla="*/ 698 h 352"/>
                <a:gd name="T36" fmla="*/ 351 w 386"/>
                <a:gd name="T37" fmla="*/ 678 h 352"/>
                <a:gd name="T38" fmla="*/ 320 w 386"/>
                <a:gd name="T39" fmla="*/ 668 h 352"/>
                <a:gd name="T40" fmla="*/ 265 w 386"/>
                <a:gd name="T41" fmla="*/ 664 h 352"/>
                <a:gd name="T42" fmla="*/ 211 w 386"/>
                <a:gd name="T43" fmla="*/ 643 h 352"/>
                <a:gd name="T44" fmla="*/ 163 w 386"/>
                <a:gd name="T45" fmla="*/ 604 h 352"/>
                <a:gd name="T46" fmla="*/ 138 w 386"/>
                <a:gd name="T47" fmla="*/ 621 h 352"/>
                <a:gd name="T48" fmla="*/ 138 w 386"/>
                <a:gd name="T49" fmla="*/ 578 h 352"/>
                <a:gd name="T50" fmla="*/ 94 w 386"/>
                <a:gd name="T51" fmla="*/ 512 h 352"/>
                <a:gd name="T52" fmla="*/ 94 w 386"/>
                <a:gd name="T53" fmla="*/ 469 h 352"/>
                <a:gd name="T54" fmla="*/ 94 w 386"/>
                <a:gd name="T55" fmla="*/ 419 h 352"/>
                <a:gd name="T56" fmla="*/ 76 w 386"/>
                <a:gd name="T57" fmla="*/ 364 h 352"/>
                <a:gd name="T58" fmla="*/ 10 w 386"/>
                <a:gd name="T59" fmla="*/ 304 h 352"/>
                <a:gd name="T60" fmla="*/ 31 w 386"/>
                <a:gd name="T61" fmla="*/ 188 h 352"/>
                <a:gd name="T62" fmla="*/ 61 w 386"/>
                <a:gd name="T63" fmla="*/ 188 h 352"/>
                <a:gd name="T64" fmla="*/ 61 w 386"/>
                <a:gd name="T65" fmla="*/ 156 h 352"/>
                <a:gd name="T66" fmla="*/ 118 w 386"/>
                <a:gd name="T67" fmla="*/ 124 h 352"/>
                <a:gd name="T68" fmla="*/ 272 w 386"/>
                <a:gd name="T69" fmla="*/ 101 h 352"/>
                <a:gd name="T70" fmla="*/ 428 w 386"/>
                <a:gd name="T71" fmla="*/ 31 h 352"/>
                <a:gd name="T72" fmla="*/ 700 w 386"/>
                <a:gd name="T73" fmla="*/ 31 h 352"/>
                <a:gd name="T74" fmla="*/ 655 w 386"/>
                <a:gd name="T75" fmla="*/ 31 h 352"/>
                <a:gd name="T76" fmla="*/ 731 w 386"/>
                <a:gd name="T77" fmla="*/ 86 h 352"/>
                <a:gd name="T78" fmla="*/ 846 w 386"/>
                <a:gd name="T79" fmla="*/ 42 h 352"/>
                <a:gd name="T80" fmla="*/ 769 w 386"/>
                <a:gd name="T81" fmla="*/ 93 h 352"/>
                <a:gd name="T82" fmla="*/ 840 w 386"/>
                <a:gd name="T83" fmla="*/ 67 h 352"/>
                <a:gd name="T84" fmla="*/ 1088 w 386"/>
                <a:gd name="T85" fmla="*/ 63 h 352"/>
                <a:gd name="T86" fmla="*/ 1330 w 386"/>
                <a:gd name="T87" fmla="*/ 53 h 352"/>
                <a:gd name="T88" fmla="*/ 1399 w 386"/>
                <a:gd name="T89" fmla="*/ 120 h 352"/>
                <a:gd name="T90" fmla="*/ 1423 w 386"/>
                <a:gd name="T91" fmla="*/ 164 h 352"/>
                <a:gd name="T92" fmla="*/ 1468 w 386"/>
                <a:gd name="T93" fmla="*/ 329 h 352"/>
                <a:gd name="T94" fmla="*/ 1382 w 386"/>
                <a:gd name="T95" fmla="*/ 364 h 352"/>
                <a:gd name="T96" fmla="*/ 1376 w 386"/>
                <a:gd name="T97" fmla="*/ 412 h 352"/>
                <a:gd name="T98" fmla="*/ 1429 w 386"/>
                <a:gd name="T99" fmla="*/ 448 h 352"/>
                <a:gd name="T100" fmla="*/ 1413 w 386"/>
                <a:gd name="T101" fmla="*/ 526 h 352"/>
                <a:gd name="T102" fmla="*/ 1476 w 386"/>
                <a:gd name="T103" fmla="*/ 621 h 352"/>
                <a:gd name="T104" fmla="*/ 1476 w 386"/>
                <a:gd name="T105" fmla="*/ 645 h 352"/>
                <a:gd name="T106" fmla="*/ 1476 w 386"/>
                <a:gd name="T107" fmla="*/ 705 h 352"/>
                <a:gd name="T108" fmla="*/ 1392 w 386"/>
                <a:gd name="T109" fmla="*/ 753 h 352"/>
                <a:gd name="T110" fmla="*/ 1290 w 386"/>
                <a:gd name="T111" fmla="*/ 889 h 352"/>
                <a:gd name="T112" fmla="*/ 1268 w 386"/>
                <a:gd name="T113" fmla="*/ 920 h 352"/>
                <a:gd name="T114" fmla="*/ 39 w 386"/>
                <a:gd name="T115" fmla="*/ 151 h 352"/>
                <a:gd name="T116" fmla="*/ 31 w 386"/>
                <a:gd name="T117" fmla="*/ 136 h 352"/>
                <a:gd name="T118" fmla="*/ 56 w 386"/>
                <a:gd name="T119" fmla="*/ 145 h 352"/>
                <a:gd name="T120" fmla="*/ 16 w 386"/>
                <a:gd name="T121" fmla="*/ 156 h 352"/>
                <a:gd name="T122" fmla="*/ 0 w 386"/>
                <a:gd name="T123" fmla="*/ 136 h 35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6"/>
                <a:gd name="T187" fmla="*/ 0 h 352"/>
                <a:gd name="T188" fmla="*/ 386 w 386"/>
                <a:gd name="T189" fmla="*/ 352 h 35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6" h="352">
                  <a:moveTo>
                    <a:pt x="326" y="352"/>
                  </a:moveTo>
                  <a:lnTo>
                    <a:pt x="312" y="344"/>
                  </a:lnTo>
                  <a:lnTo>
                    <a:pt x="304" y="340"/>
                  </a:lnTo>
                  <a:lnTo>
                    <a:pt x="302" y="336"/>
                  </a:lnTo>
                  <a:lnTo>
                    <a:pt x="290" y="330"/>
                  </a:lnTo>
                  <a:lnTo>
                    <a:pt x="288" y="326"/>
                  </a:lnTo>
                  <a:lnTo>
                    <a:pt x="278" y="328"/>
                  </a:lnTo>
                  <a:lnTo>
                    <a:pt x="270" y="328"/>
                  </a:lnTo>
                  <a:lnTo>
                    <a:pt x="268" y="332"/>
                  </a:lnTo>
                  <a:lnTo>
                    <a:pt x="262" y="336"/>
                  </a:lnTo>
                  <a:lnTo>
                    <a:pt x="254" y="330"/>
                  </a:lnTo>
                  <a:lnTo>
                    <a:pt x="246" y="330"/>
                  </a:lnTo>
                  <a:lnTo>
                    <a:pt x="242" y="328"/>
                  </a:lnTo>
                  <a:lnTo>
                    <a:pt x="232" y="334"/>
                  </a:lnTo>
                  <a:lnTo>
                    <a:pt x="230" y="340"/>
                  </a:lnTo>
                  <a:lnTo>
                    <a:pt x="228" y="342"/>
                  </a:lnTo>
                  <a:lnTo>
                    <a:pt x="226" y="340"/>
                  </a:lnTo>
                  <a:lnTo>
                    <a:pt x="218" y="342"/>
                  </a:lnTo>
                  <a:lnTo>
                    <a:pt x="218" y="336"/>
                  </a:lnTo>
                  <a:lnTo>
                    <a:pt x="218" y="334"/>
                  </a:lnTo>
                  <a:lnTo>
                    <a:pt x="218" y="330"/>
                  </a:lnTo>
                  <a:lnTo>
                    <a:pt x="212" y="330"/>
                  </a:lnTo>
                  <a:lnTo>
                    <a:pt x="212" y="326"/>
                  </a:lnTo>
                  <a:lnTo>
                    <a:pt x="208" y="320"/>
                  </a:lnTo>
                  <a:lnTo>
                    <a:pt x="202" y="320"/>
                  </a:lnTo>
                  <a:lnTo>
                    <a:pt x="202" y="322"/>
                  </a:lnTo>
                  <a:lnTo>
                    <a:pt x="198" y="322"/>
                  </a:lnTo>
                  <a:lnTo>
                    <a:pt x="196" y="328"/>
                  </a:lnTo>
                  <a:lnTo>
                    <a:pt x="188" y="330"/>
                  </a:lnTo>
                  <a:lnTo>
                    <a:pt x="188" y="324"/>
                  </a:lnTo>
                  <a:lnTo>
                    <a:pt x="182" y="322"/>
                  </a:lnTo>
                  <a:lnTo>
                    <a:pt x="180" y="314"/>
                  </a:lnTo>
                  <a:lnTo>
                    <a:pt x="174" y="312"/>
                  </a:lnTo>
                  <a:lnTo>
                    <a:pt x="170" y="306"/>
                  </a:lnTo>
                  <a:lnTo>
                    <a:pt x="172" y="300"/>
                  </a:lnTo>
                  <a:lnTo>
                    <a:pt x="158" y="296"/>
                  </a:lnTo>
                  <a:lnTo>
                    <a:pt x="152" y="292"/>
                  </a:lnTo>
                  <a:lnTo>
                    <a:pt x="146" y="296"/>
                  </a:lnTo>
                  <a:lnTo>
                    <a:pt x="140" y="294"/>
                  </a:lnTo>
                  <a:lnTo>
                    <a:pt x="140" y="288"/>
                  </a:lnTo>
                  <a:lnTo>
                    <a:pt x="140" y="282"/>
                  </a:lnTo>
                  <a:lnTo>
                    <a:pt x="134" y="284"/>
                  </a:lnTo>
                  <a:lnTo>
                    <a:pt x="138" y="276"/>
                  </a:lnTo>
                  <a:lnTo>
                    <a:pt x="126" y="276"/>
                  </a:lnTo>
                  <a:lnTo>
                    <a:pt x="122" y="274"/>
                  </a:lnTo>
                  <a:lnTo>
                    <a:pt x="112" y="268"/>
                  </a:lnTo>
                  <a:lnTo>
                    <a:pt x="108" y="268"/>
                  </a:lnTo>
                  <a:lnTo>
                    <a:pt x="108" y="272"/>
                  </a:lnTo>
                  <a:lnTo>
                    <a:pt x="112" y="280"/>
                  </a:lnTo>
                  <a:lnTo>
                    <a:pt x="104" y="282"/>
                  </a:lnTo>
                  <a:lnTo>
                    <a:pt x="102" y="288"/>
                  </a:lnTo>
                  <a:lnTo>
                    <a:pt x="96" y="286"/>
                  </a:lnTo>
                  <a:lnTo>
                    <a:pt x="90" y="276"/>
                  </a:lnTo>
                  <a:lnTo>
                    <a:pt x="82" y="268"/>
                  </a:lnTo>
                  <a:lnTo>
                    <a:pt x="86" y="264"/>
                  </a:lnTo>
                  <a:lnTo>
                    <a:pt x="88" y="262"/>
                  </a:lnTo>
                  <a:lnTo>
                    <a:pt x="90" y="260"/>
                  </a:lnTo>
                  <a:lnTo>
                    <a:pt x="86" y="254"/>
                  </a:lnTo>
                  <a:lnTo>
                    <a:pt x="82" y="254"/>
                  </a:lnTo>
                  <a:lnTo>
                    <a:pt x="82" y="256"/>
                  </a:lnTo>
                  <a:lnTo>
                    <a:pt x="74" y="258"/>
                  </a:lnTo>
                  <a:lnTo>
                    <a:pt x="74" y="254"/>
                  </a:lnTo>
                  <a:lnTo>
                    <a:pt x="68" y="254"/>
                  </a:lnTo>
                  <a:lnTo>
                    <a:pt x="66" y="248"/>
                  </a:lnTo>
                  <a:lnTo>
                    <a:pt x="56" y="248"/>
                  </a:lnTo>
                  <a:lnTo>
                    <a:pt x="54" y="246"/>
                  </a:lnTo>
                  <a:lnTo>
                    <a:pt x="46" y="242"/>
                  </a:lnTo>
                  <a:lnTo>
                    <a:pt x="46" y="236"/>
                  </a:lnTo>
                  <a:lnTo>
                    <a:pt x="42" y="232"/>
                  </a:lnTo>
                  <a:lnTo>
                    <a:pt x="36" y="234"/>
                  </a:lnTo>
                  <a:lnTo>
                    <a:pt x="34" y="236"/>
                  </a:lnTo>
                  <a:lnTo>
                    <a:pt x="36" y="238"/>
                  </a:lnTo>
                  <a:lnTo>
                    <a:pt x="34" y="242"/>
                  </a:lnTo>
                  <a:lnTo>
                    <a:pt x="28" y="242"/>
                  </a:lnTo>
                  <a:lnTo>
                    <a:pt x="36" y="222"/>
                  </a:lnTo>
                  <a:lnTo>
                    <a:pt x="32" y="208"/>
                  </a:lnTo>
                  <a:lnTo>
                    <a:pt x="22" y="204"/>
                  </a:lnTo>
                  <a:lnTo>
                    <a:pt x="24" y="196"/>
                  </a:lnTo>
                  <a:lnTo>
                    <a:pt x="20" y="190"/>
                  </a:lnTo>
                  <a:lnTo>
                    <a:pt x="20" y="184"/>
                  </a:lnTo>
                  <a:lnTo>
                    <a:pt x="24" y="180"/>
                  </a:lnTo>
                  <a:lnTo>
                    <a:pt x="26" y="172"/>
                  </a:lnTo>
                  <a:lnTo>
                    <a:pt x="22" y="170"/>
                  </a:lnTo>
                  <a:lnTo>
                    <a:pt x="24" y="160"/>
                  </a:lnTo>
                  <a:lnTo>
                    <a:pt x="18" y="156"/>
                  </a:lnTo>
                  <a:lnTo>
                    <a:pt x="16" y="152"/>
                  </a:lnTo>
                  <a:lnTo>
                    <a:pt x="20" y="140"/>
                  </a:lnTo>
                  <a:lnTo>
                    <a:pt x="8" y="128"/>
                  </a:lnTo>
                  <a:lnTo>
                    <a:pt x="2" y="126"/>
                  </a:lnTo>
                  <a:lnTo>
                    <a:pt x="2" y="116"/>
                  </a:lnTo>
                  <a:lnTo>
                    <a:pt x="8" y="112"/>
                  </a:lnTo>
                  <a:lnTo>
                    <a:pt x="12" y="96"/>
                  </a:lnTo>
                  <a:lnTo>
                    <a:pt x="8" y="72"/>
                  </a:lnTo>
                  <a:lnTo>
                    <a:pt x="14" y="74"/>
                  </a:lnTo>
                  <a:lnTo>
                    <a:pt x="18" y="78"/>
                  </a:lnTo>
                  <a:lnTo>
                    <a:pt x="16" y="72"/>
                  </a:lnTo>
                  <a:lnTo>
                    <a:pt x="18" y="68"/>
                  </a:lnTo>
                  <a:lnTo>
                    <a:pt x="18" y="62"/>
                  </a:lnTo>
                  <a:lnTo>
                    <a:pt x="16" y="60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30" y="48"/>
                  </a:lnTo>
                  <a:lnTo>
                    <a:pt x="38" y="48"/>
                  </a:lnTo>
                  <a:lnTo>
                    <a:pt x="46" y="42"/>
                  </a:lnTo>
                  <a:lnTo>
                    <a:pt x="70" y="38"/>
                  </a:lnTo>
                  <a:lnTo>
                    <a:pt x="78" y="34"/>
                  </a:lnTo>
                  <a:lnTo>
                    <a:pt x="92" y="20"/>
                  </a:lnTo>
                  <a:lnTo>
                    <a:pt x="110" y="12"/>
                  </a:lnTo>
                  <a:lnTo>
                    <a:pt x="138" y="2"/>
                  </a:lnTo>
                  <a:lnTo>
                    <a:pt x="160" y="0"/>
                  </a:lnTo>
                  <a:lnTo>
                    <a:pt x="180" y="12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8" y="12"/>
                  </a:lnTo>
                  <a:lnTo>
                    <a:pt x="170" y="26"/>
                  </a:lnTo>
                  <a:lnTo>
                    <a:pt x="176" y="30"/>
                  </a:lnTo>
                  <a:lnTo>
                    <a:pt x="188" y="32"/>
                  </a:lnTo>
                  <a:lnTo>
                    <a:pt x="198" y="28"/>
                  </a:lnTo>
                  <a:lnTo>
                    <a:pt x="216" y="16"/>
                  </a:lnTo>
                  <a:lnTo>
                    <a:pt x="218" y="16"/>
                  </a:lnTo>
                  <a:lnTo>
                    <a:pt x="200" y="30"/>
                  </a:lnTo>
                  <a:lnTo>
                    <a:pt x="198" y="32"/>
                  </a:lnTo>
                  <a:lnTo>
                    <a:pt x="198" y="36"/>
                  </a:lnTo>
                  <a:lnTo>
                    <a:pt x="200" y="36"/>
                  </a:lnTo>
                  <a:lnTo>
                    <a:pt x="206" y="34"/>
                  </a:lnTo>
                  <a:lnTo>
                    <a:pt x="216" y="26"/>
                  </a:lnTo>
                  <a:lnTo>
                    <a:pt x="226" y="20"/>
                  </a:lnTo>
                  <a:lnTo>
                    <a:pt x="240" y="20"/>
                  </a:lnTo>
                  <a:lnTo>
                    <a:pt x="280" y="24"/>
                  </a:lnTo>
                  <a:lnTo>
                    <a:pt x="330" y="20"/>
                  </a:lnTo>
                  <a:lnTo>
                    <a:pt x="342" y="20"/>
                  </a:lnTo>
                  <a:lnTo>
                    <a:pt x="354" y="26"/>
                  </a:lnTo>
                  <a:lnTo>
                    <a:pt x="358" y="42"/>
                  </a:lnTo>
                  <a:lnTo>
                    <a:pt x="360" y="46"/>
                  </a:lnTo>
                  <a:lnTo>
                    <a:pt x="360" y="48"/>
                  </a:lnTo>
                  <a:lnTo>
                    <a:pt x="362" y="52"/>
                  </a:lnTo>
                  <a:lnTo>
                    <a:pt x="366" y="62"/>
                  </a:lnTo>
                  <a:lnTo>
                    <a:pt x="376" y="106"/>
                  </a:lnTo>
                  <a:lnTo>
                    <a:pt x="378" y="120"/>
                  </a:lnTo>
                  <a:lnTo>
                    <a:pt x="378" y="126"/>
                  </a:lnTo>
                  <a:lnTo>
                    <a:pt x="374" y="132"/>
                  </a:lnTo>
                  <a:lnTo>
                    <a:pt x="366" y="134"/>
                  </a:lnTo>
                  <a:lnTo>
                    <a:pt x="356" y="140"/>
                  </a:lnTo>
                  <a:lnTo>
                    <a:pt x="352" y="150"/>
                  </a:lnTo>
                  <a:lnTo>
                    <a:pt x="350" y="158"/>
                  </a:lnTo>
                  <a:lnTo>
                    <a:pt x="354" y="158"/>
                  </a:lnTo>
                  <a:lnTo>
                    <a:pt x="362" y="162"/>
                  </a:lnTo>
                  <a:lnTo>
                    <a:pt x="364" y="168"/>
                  </a:lnTo>
                  <a:lnTo>
                    <a:pt x="368" y="172"/>
                  </a:lnTo>
                  <a:lnTo>
                    <a:pt x="368" y="178"/>
                  </a:lnTo>
                  <a:lnTo>
                    <a:pt x="362" y="200"/>
                  </a:lnTo>
                  <a:lnTo>
                    <a:pt x="364" y="202"/>
                  </a:lnTo>
                  <a:lnTo>
                    <a:pt x="368" y="208"/>
                  </a:lnTo>
                  <a:lnTo>
                    <a:pt x="366" y="214"/>
                  </a:lnTo>
                  <a:lnTo>
                    <a:pt x="380" y="238"/>
                  </a:lnTo>
                  <a:lnTo>
                    <a:pt x="386" y="244"/>
                  </a:lnTo>
                  <a:lnTo>
                    <a:pt x="380" y="244"/>
                  </a:lnTo>
                  <a:lnTo>
                    <a:pt x="380" y="248"/>
                  </a:lnTo>
                  <a:lnTo>
                    <a:pt x="384" y="256"/>
                  </a:lnTo>
                  <a:lnTo>
                    <a:pt x="384" y="264"/>
                  </a:lnTo>
                  <a:lnTo>
                    <a:pt x="380" y="270"/>
                  </a:lnTo>
                  <a:lnTo>
                    <a:pt x="372" y="272"/>
                  </a:lnTo>
                  <a:lnTo>
                    <a:pt x="368" y="276"/>
                  </a:lnTo>
                  <a:lnTo>
                    <a:pt x="358" y="288"/>
                  </a:lnTo>
                  <a:lnTo>
                    <a:pt x="332" y="320"/>
                  </a:lnTo>
                  <a:lnTo>
                    <a:pt x="330" y="328"/>
                  </a:lnTo>
                  <a:lnTo>
                    <a:pt x="332" y="342"/>
                  </a:lnTo>
                  <a:lnTo>
                    <a:pt x="336" y="352"/>
                  </a:lnTo>
                  <a:lnTo>
                    <a:pt x="326" y="352"/>
                  </a:lnTo>
                  <a:close/>
                  <a:moveTo>
                    <a:pt x="14" y="56"/>
                  </a:moveTo>
                  <a:lnTo>
                    <a:pt x="14" y="60"/>
                  </a:lnTo>
                  <a:lnTo>
                    <a:pt x="10" y="58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4" y="56"/>
                  </a:lnTo>
                  <a:close/>
                  <a:moveTo>
                    <a:pt x="0" y="52"/>
                  </a:moveTo>
                  <a:lnTo>
                    <a:pt x="4" y="54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4">
              <a:extLst>
                <a:ext uri="{FF2B5EF4-FFF2-40B4-BE49-F238E27FC236}">
                  <a16:creationId xmlns:a16="http://schemas.microsoft.com/office/drawing/2014/main" id="{FD425A50-8E6E-4028-B8CC-59EE657861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7400" y="3946525"/>
              <a:ext cx="604837" cy="490537"/>
            </a:xfrm>
            <a:custGeom>
              <a:avLst/>
              <a:gdLst>
                <a:gd name="T0" fmla="*/ 100 w 364"/>
                <a:gd name="T1" fmla="*/ 383 h 316"/>
                <a:gd name="T2" fmla="*/ 172 w 364"/>
                <a:gd name="T3" fmla="*/ 392 h 316"/>
                <a:gd name="T4" fmla="*/ 242 w 364"/>
                <a:gd name="T5" fmla="*/ 364 h 316"/>
                <a:gd name="T6" fmla="*/ 291 w 364"/>
                <a:gd name="T7" fmla="*/ 340 h 316"/>
                <a:gd name="T8" fmla="*/ 341 w 364"/>
                <a:gd name="T9" fmla="*/ 327 h 316"/>
                <a:gd name="T10" fmla="*/ 382 w 364"/>
                <a:gd name="T11" fmla="*/ 335 h 316"/>
                <a:gd name="T12" fmla="*/ 363 w 364"/>
                <a:gd name="T13" fmla="*/ 299 h 316"/>
                <a:gd name="T14" fmla="*/ 378 w 364"/>
                <a:gd name="T15" fmla="*/ 238 h 316"/>
                <a:gd name="T16" fmla="*/ 448 w 364"/>
                <a:gd name="T17" fmla="*/ 200 h 316"/>
                <a:gd name="T18" fmla="*/ 493 w 364"/>
                <a:gd name="T19" fmla="*/ 177 h 316"/>
                <a:gd name="T20" fmla="*/ 525 w 364"/>
                <a:gd name="T21" fmla="*/ 153 h 316"/>
                <a:gd name="T22" fmla="*/ 493 w 364"/>
                <a:gd name="T23" fmla="*/ 130 h 316"/>
                <a:gd name="T24" fmla="*/ 517 w 364"/>
                <a:gd name="T25" fmla="*/ 77 h 316"/>
                <a:gd name="T26" fmla="*/ 564 w 364"/>
                <a:gd name="T27" fmla="*/ 56 h 316"/>
                <a:gd name="T28" fmla="*/ 659 w 364"/>
                <a:gd name="T29" fmla="*/ 63 h 316"/>
                <a:gd name="T30" fmla="*/ 697 w 364"/>
                <a:gd name="T31" fmla="*/ 15 h 316"/>
                <a:gd name="T32" fmla="*/ 767 w 364"/>
                <a:gd name="T33" fmla="*/ 15 h 316"/>
                <a:gd name="T34" fmla="*/ 829 w 364"/>
                <a:gd name="T35" fmla="*/ 35 h 316"/>
                <a:gd name="T36" fmla="*/ 924 w 364"/>
                <a:gd name="T37" fmla="*/ 30 h 316"/>
                <a:gd name="T38" fmla="*/ 924 w 364"/>
                <a:gd name="T39" fmla="*/ 66 h 316"/>
                <a:gd name="T40" fmla="*/ 996 w 364"/>
                <a:gd name="T41" fmla="*/ 63 h 316"/>
                <a:gd name="T42" fmla="*/ 1048 w 364"/>
                <a:gd name="T43" fmla="*/ 50 h 316"/>
                <a:gd name="T44" fmla="*/ 1136 w 364"/>
                <a:gd name="T45" fmla="*/ 97 h 316"/>
                <a:gd name="T46" fmla="*/ 1149 w 364"/>
                <a:gd name="T47" fmla="*/ 119 h 316"/>
                <a:gd name="T48" fmla="*/ 1168 w 364"/>
                <a:gd name="T49" fmla="*/ 185 h 316"/>
                <a:gd name="T50" fmla="*/ 1146 w 364"/>
                <a:gd name="T51" fmla="*/ 210 h 316"/>
                <a:gd name="T52" fmla="*/ 1176 w 364"/>
                <a:gd name="T53" fmla="*/ 262 h 316"/>
                <a:gd name="T54" fmla="*/ 1184 w 364"/>
                <a:gd name="T55" fmla="*/ 288 h 316"/>
                <a:gd name="T56" fmla="*/ 1261 w 364"/>
                <a:gd name="T57" fmla="*/ 350 h 316"/>
                <a:gd name="T58" fmla="*/ 1284 w 364"/>
                <a:gd name="T59" fmla="*/ 403 h 316"/>
                <a:gd name="T60" fmla="*/ 1394 w 364"/>
                <a:gd name="T61" fmla="*/ 417 h 316"/>
                <a:gd name="T62" fmla="*/ 1409 w 364"/>
                <a:gd name="T63" fmla="*/ 452 h 316"/>
                <a:gd name="T64" fmla="*/ 1394 w 364"/>
                <a:gd name="T65" fmla="*/ 488 h 316"/>
                <a:gd name="T66" fmla="*/ 1276 w 364"/>
                <a:gd name="T67" fmla="*/ 505 h 316"/>
                <a:gd name="T68" fmla="*/ 1214 w 364"/>
                <a:gd name="T69" fmla="*/ 537 h 316"/>
                <a:gd name="T70" fmla="*/ 1254 w 364"/>
                <a:gd name="T71" fmla="*/ 598 h 316"/>
                <a:gd name="T72" fmla="*/ 1261 w 364"/>
                <a:gd name="T73" fmla="*/ 649 h 316"/>
                <a:gd name="T74" fmla="*/ 1254 w 364"/>
                <a:gd name="T75" fmla="*/ 680 h 316"/>
                <a:gd name="T76" fmla="*/ 1160 w 364"/>
                <a:gd name="T77" fmla="*/ 692 h 316"/>
                <a:gd name="T78" fmla="*/ 1099 w 364"/>
                <a:gd name="T79" fmla="*/ 759 h 316"/>
                <a:gd name="T80" fmla="*/ 1090 w 364"/>
                <a:gd name="T81" fmla="*/ 810 h 316"/>
                <a:gd name="T82" fmla="*/ 1028 w 364"/>
                <a:gd name="T83" fmla="*/ 783 h 316"/>
                <a:gd name="T84" fmla="*/ 954 w 364"/>
                <a:gd name="T85" fmla="*/ 783 h 316"/>
                <a:gd name="T86" fmla="*/ 893 w 364"/>
                <a:gd name="T87" fmla="*/ 769 h 316"/>
                <a:gd name="T88" fmla="*/ 839 w 364"/>
                <a:gd name="T89" fmla="*/ 779 h 316"/>
                <a:gd name="T90" fmla="*/ 782 w 364"/>
                <a:gd name="T91" fmla="*/ 769 h 316"/>
                <a:gd name="T92" fmla="*/ 716 w 364"/>
                <a:gd name="T93" fmla="*/ 769 h 316"/>
                <a:gd name="T94" fmla="*/ 673 w 364"/>
                <a:gd name="T95" fmla="*/ 779 h 316"/>
                <a:gd name="T96" fmla="*/ 611 w 364"/>
                <a:gd name="T97" fmla="*/ 752 h 316"/>
                <a:gd name="T98" fmla="*/ 525 w 364"/>
                <a:gd name="T99" fmla="*/ 733 h 316"/>
                <a:gd name="T100" fmla="*/ 416 w 364"/>
                <a:gd name="T101" fmla="*/ 712 h 316"/>
                <a:gd name="T102" fmla="*/ 265 w 364"/>
                <a:gd name="T103" fmla="*/ 712 h 316"/>
                <a:gd name="T104" fmla="*/ 166 w 364"/>
                <a:gd name="T105" fmla="*/ 741 h 316"/>
                <a:gd name="T106" fmla="*/ 62 w 364"/>
                <a:gd name="T107" fmla="*/ 759 h 316"/>
                <a:gd name="T108" fmla="*/ 70 w 364"/>
                <a:gd name="T109" fmla="*/ 692 h 316"/>
                <a:gd name="T110" fmla="*/ 10 w 364"/>
                <a:gd name="T111" fmla="*/ 633 h 316"/>
                <a:gd name="T112" fmla="*/ 109 w 364"/>
                <a:gd name="T113" fmla="*/ 556 h 3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4"/>
                <a:gd name="T172" fmla="*/ 0 h 316"/>
                <a:gd name="T173" fmla="*/ 364 w 364"/>
                <a:gd name="T174" fmla="*/ 316 h 3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4" h="316">
                  <a:moveTo>
                    <a:pt x="12" y="148"/>
                  </a:moveTo>
                  <a:lnTo>
                    <a:pt x="14" y="150"/>
                  </a:lnTo>
                  <a:lnTo>
                    <a:pt x="16" y="148"/>
                  </a:lnTo>
                  <a:lnTo>
                    <a:pt x="22" y="150"/>
                  </a:lnTo>
                  <a:lnTo>
                    <a:pt x="26" y="148"/>
                  </a:lnTo>
                  <a:lnTo>
                    <a:pt x="32" y="148"/>
                  </a:lnTo>
                  <a:lnTo>
                    <a:pt x="36" y="146"/>
                  </a:lnTo>
                  <a:lnTo>
                    <a:pt x="38" y="148"/>
                  </a:lnTo>
                  <a:lnTo>
                    <a:pt x="40" y="152"/>
                  </a:lnTo>
                  <a:lnTo>
                    <a:pt x="44" y="152"/>
                  </a:lnTo>
                  <a:lnTo>
                    <a:pt x="52" y="146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60" y="146"/>
                  </a:lnTo>
                  <a:lnTo>
                    <a:pt x="62" y="142"/>
                  </a:lnTo>
                  <a:lnTo>
                    <a:pt x="60" y="136"/>
                  </a:lnTo>
                  <a:lnTo>
                    <a:pt x="64" y="134"/>
                  </a:lnTo>
                  <a:lnTo>
                    <a:pt x="68" y="134"/>
                  </a:lnTo>
                  <a:lnTo>
                    <a:pt x="70" y="134"/>
                  </a:lnTo>
                  <a:lnTo>
                    <a:pt x="74" y="132"/>
                  </a:lnTo>
                  <a:lnTo>
                    <a:pt x="76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6"/>
                  </a:lnTo>
                  <a:lnTo>
                    <a:pt x="88" y="128"/>
                  </a:lnTo>
                  <a:lnTo>
                    <a:pt x="88" y="134"/>
                  </a:lnTo>
                  <a:lnTo>
                    <a:pt x="92" y="134"/>
                  </a:lnTo>
                  <a:lnTo>
                    <a:pt x="96" y="134"/>
                  </a:lnTo>
                  <a:lnTo>
                    <a:pt x="98" y="130"/>
                  </a:lnTo>
                  <a:lnTo>
                    <a:pt x="96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90" y="118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6" y="106"/>
                  </a:lnTo>
                  <a:lnTo>
                    <a:pt x="96" y="102"/>
                  </a:lnTo>
                  <a:lnTo>
                    <a:pt x="94" y="98"/>
                  </a:lnTo>
                  <a:lnTo>
                    <a:pt x="96" y="92"/>
                  </a:lnTo>
                  <a:lnTo>
                    <a:pt x="98" y="88"/>
                  </a:lnTo>
                  <a:lnTo>
                    <a:pt x="100" y="84"/>
                  </a:lnTo>
                  <a:lnTo>
                    <a:pt x="102" y="80"/>
                  </a:lnTo>
                  <a:lnTo>
                    <a:pt x="108" y="80"/>
                  </a:lnTo>
                  <a:lnTo>
                    <a:pt x="114" y="78"/>
                  </a:lnTo>
                  <a:lnTo>
                    <a:pt x="116" y="74"/>
                  </a:lnTo>
                  <a:lnTo>
                    <a:pt x="116" y="68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6" y="68"/>
                  </a:lnTo>
                  <a:lnTo>
                    <a:pt x="128" y="70"/>
                  </a:lnTo>
                  <a:lnTo>
                    <a:pt x="130" y="70"/>
                  </a:lnTo>
                  <a:lnTo>
                    <a:pt x="130" y="64"/>
                  </a:lnTo>
                  <a:lnTo>
                    <a:pt x="132" y="60"/>
                  </a:lnTo>
                  <a:lnTo>
                    <a:pt x="134" y="60"/>
                  </a:lnTo>
                  <a:lnTo>
                    <a:pt x="136" y="58"/>
                  </a:lnTo>
                  <a:lnTo>
                    <a:pt x="134" y="56"/>
                  </a:lnTo>
                  <a:lnTo>
                    <a:pt x="130" y="56"/>
                  </a:lnTo>
                  <a:lnTo>
                    <a:pt x="124" y="54"/>
                  </a:lnTo>
                  <a:lnTo>
                    <a:pt x="126" y="50"/>
                  </a:lnTo>
                  <a:lnTo>
                    <a:pt x="128" y="46"/>
                  </a:lnTo>
                  <a:lnTo>
                    <a:pt x="128" y="42"/>
                  </a:lnTo>
                  <a:lnTo>
                    <a:pt x="130" y="38"/>
                  </a:lnTo>
                  <a:lnTo>
                    <a:pt x="130" y="32"/>
                  </a:lnTo>
                  <a:lnTo>
                    <a:pt x="132" y="30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40" y="28"/>
                  </a:lnTo>
                  <a:lnTo>
                    <a:pt x="142" y="24"/>
                  </a:lnTo>
                  <a:lnTo>
                    <a:pt x="144" y="22"/>
                  </a:lnTo>
                  <a:lnTo>
                    <a:pt x="150" y="22"/>
                  </a:lnTo>
                  <a:lnTo>
                    <a:pt x="156" y="24"/>
                  </a:lnTo>
                  <a:lnTo>
                    <a:pt x="160" y="24"/>
                  </a:lnTo>
                  <a:lnTo>
                    <a:pt x="164" y="26"/>
                  </a:lnTo>
                  <a:lnTo>
                    <a:pt x="168" y="24"/>
                  </a:lnTo>
                  <a:lnTo>
                    <a:pt x="170" y="18"/>
                  </a:lnTo>
                  <a:lnTo>
                    <a:pt x="170" y="14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78" y="6"/>
                  </a:lnTo>
                  <a:lnTo>
                    <a:pt x="180" y="2"/>
                  </a:lnTo>
                  <a:lnTo>
                    <a:pt x="186" y="2"/>
                  </a:lnTo>
                  <a:lnTo>
                    <a:pt x="190" y="0"/>
                  </a:lnTo>
                  <a:lnTo>
                    <a:pt x="192" y="4"/>
                  </a:lnTo>
                  <a:lnTo>
                    <a:pt x="196" y="6"/>
                  </a:lnTo>
                  <a:lnTo>
                    <a:pt x="200" y="2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8"/>
                  </a:lnTo>
                  <a:lnTo>
                    <a:pt x="212" y="14"/>
                  </a:lnTo>
                  <a:lnTo>
                    <a:pt x="214" y="12"/>
                  </a:lnTo>
                  <a:lnTo>
                    <a:pt x="218" y="10"/>
                  </a:lnTo>
                  <a:lnTo>
                    <a:pt x="226" y="8"/>
                  </a:lnTo>
                  <a:lnTo>
                    <a:pt x="230" y="10"/>
                  </a:lnTo>
                  <a:lnTo>
                    <a:pt x="236" y="12"/>
                  </a:lnTo>
                  <a:lnTo>
                    <a:pt x="238" y="12"/>
                  </a:lnTo>
                  <a:lnTo>
                    <a:pt x="238" y="16"/>
                  </a:lnTo>
                  <a:lnTo>
                    <a:pt x="236" y="18"/>
                  </a:lnTo>
                  <a:lnTo>
                    <a:pt x="236" y="22"/>
                  </a:lnTo>
                  <a:lnTo>
                    <a:pt x="236" y="26"/>
                  </a:lnTo>
                  <a:lnTo>
                    <a:pt x="238" y="32"/>
                  </a:lnTo>
                  <a:lnTo>
                    <a:pt x="242" y="32"/>
                  </a:lnTo>
                  <a:lnTo>
                    <a:pt x="246" y="26"/>
                  </a:lnTo>
                  <a:lnTo>
                    <a:pt x="250" y="24"/>
                  </a:lnTo>
                  <a:lnTo>
                    <a:pt x="254" y="24"/>
                  </a:lnTo>
                  <a:lnTo>
                    <a:pt x="256" y="22"/>
                  </a:lnTo>
                  <a:lnTo>
                    <a:pt x="260" y="18"/>
                  </a:lnTo>
                  <a:lnTo>
                    <a:pt x="262" y="20"/>
                  </a:lnTo>
                  <a:lnTo>
                    <a:pt x="264" y="22"/>
                  </a:lnTo>
                  <a:lnTo>
                    <a:pt x="268" y="20"/>
                  </a:lnTo>
                  <a:lnTo>
                    <a:pt x="278" y="24"/>
                  </a:lnTo>
                  <a:lnTo>
                    <a:pt x="280" y="28"/>
                  </a:lnTo>
                  <a:lnTo>
                    <a:pt x="286" y="32"/>
                  </a:lnTo>
                  <a:lnTo>
                    <a:pt x="286" y="34"/>
                  </a:lnTo>
                  <a:lnTo>
                    <a:pt x="290" y="38"/>
                  </a:lnTo>
                  <a:lnTo>
                    <a:pt x="292" y="38"/>
                  </a:lnTo>
                  <a:lnTo>
                    <a:pt x="294" y="38"/>
                  </a:lnTo>
                  <a:lnTo>
                    <a:pt x="296" y="40"/>
                  </a:lnTo>
                  <a:lnTo>
                    <a:pt x="294" y="44"/>
                  </a:lnTo>
                  <a:lnTo>
                    <a:pt x="294" y="46"/>
                  </a:lnTo>
                  <a:lnTo>
                    <a:pt x="294" y="52"/>
                  </a:lnTo>
                  <a:lnTo>
                    <a:pt x="292" y="56"/>
                  </a:lnTo>
                  <a:lnTo>
                    <a:pt x="294" y="64"/>
                  </a:lnTo>
                  <a:lnTo>
                    <a:pt x="298" y="68"/>
                  </a:lnTo>
                  <a:lnTo>
                    <a:pt x="298" y="72"/>
                  </a:lnTo>
                  <a:lnTo>
                    <a:pt x="298" y="76"/>
                  </a:lnTo>
                  <a:lnTo>
                    <a:pt x="296" y="76"/>
                  </a:lnTo>
                  <a:lnTo>
                    <a:pt x="296" y="78"/>
                  </a:lnTo>
                  <a:lnTo>
                    <a:pt x="294" y="82"/>
                  </a:lnTo>
                  <a:lnTo>
                    <a:pt x="292" y="82"/>
                  </a:lnTo>
                  <a:lnTo>
                    <a:pt x="290" y="88"/>
                  </a:lnTo>
                  <a:lnTo>
                    <a:pt x="290" y="92"/>
                  </a:lnTo>
                  <a:lnTo>
                    <a:pt x="296" y="94"/>
                  </a:lnTo>
                  <a:lnTo>
                    <a:pt x="298" y="98"/>
                  </a:lnTo>
                  <a:lnTo>
                    <a:pt x="300" y="102"/>
                  </a:lnTo>
                  <a:lnTo>
                    <a:pt x="302" y="100"/>
                  </a:lnTo>
                  <a:lnTo>
                    <a:pt x="306" y="102"/>
                  </a:lnTo>
                  <a:lnTo>
                    <a:pt x="304" y="106"/>
                  </a:lnTo>
                  <a:lnTo>
                    <a:pt x="302" y="110"/>
                  </a:lnTo>
                  <a:lnTo>
                    <a:pt x="302" y="112"/>
                  </a:lnTo>
                  <a:lnTo>
                    <a:pt x="306" y="112"/>
                  </a:lnTo>
                  <a:lnTo>
                    <a:pt x="310" y="120"/>
                  </a:lnTo>
                  <a:lnTo>
                    <a:pt x="312" y="128"/>
                  </a:lnTo>
                  <a:lnTo>
                    <a:pt x="318" y="134"/>
                  </a:lnTo>
                  <a:lnTo>
                    <a:pt x="322" y="136"/>
                  </a:lnTo>
                  <a:lnTo>
                    <a:pt x="328" y="138"/>
                  </a:lnTo>
                  <a:lnTo>
                    <a:pt x="330" y="140"/>
                  </a:lnTo>
                  <a:lnTo>
                    <a:pt x="332" y="146"/>
                  </a:lnTo>
                  <a:lnTo>
                    <a:pt x="330" y="150"/>
                  </a:lnTo>
                  <a:lnTo>
                    <a:pt x="328" y="156"/>
                  </a:lnTo>
                  <a:lnTo>
                    <a:pt x="332" y="158"/>
                  </a:lnTo>
                  <a:lnTo>
                    <a:pt x="338" y="156"/>
                  </a:lnTo>
                  <a:lnTo>
                    <a:pt x="344" y="158"/>
                  </a:lnTo>
                  <a:lnTo>
                    <a:pt x="350" y="160"/>
                  </a:lnTo>
                  <a:lnTo>
                    <a:pt x="356" y="162"/>
                  </a:lnTo>
                  <a:lnTo>
                    <a:pt x="354" y="164"/>
                  </a:lnTo>
                  <a:lnTo>
                    <a:pt x="354" y="166"/>
                  </a:lnTo>
                  <a:lnTo>
                    <a:pt x="352" y="166"/>
                  </a:lnTo>
                  <a:lnTo>
                    <a:pt x="354" y="172"/>
                  </a:lnTo>
                  <a:lnTo>
                    <a:pt x="360" y="176"/>
                  </a:lnTo>
                  <a:lnTo>
                    <a:pt x="364" y="178"/>
                  </a:lnTo>
                  <a:lnTo>
                    <a:pt x="364" y="182"/>
                  </a:lnTo>
                  <a:lnTo>
                    <a:pt x="364" y="186"/>
                  </a:lnTo>
                  <a:lnTo>
                    <a:pt x="358" y="186"/>
                  </a:lnTo>
                  <a:lnTo>
                    <a:pt x="356" y="190"/>
                  </a:lnTo>
                  <a:lnTo>
                    <a:pt x="354" y="192"/>
                  </a:lnTo>
                  <a:lnTo>
                    <a:pt x="348" y="198"/>
                  </a:lnTo>
                  <a:lnTo>
                    <a:pt x="338" y="200"/>
                  </a:lnTo>
                  <a:lnTo>
                    <a:pt x="330" y="200"/>
                  </a:lnTo>
                  <a:lnTo>
                    <a:pt x="326" y="196"/>
                  </a:lnTo>
                  <a:lnTo>
                    <a:pt x="320" y="194"/>
                  </a:lnTo>
                  <a:lnTo>
                    <a:pt x="314" y="196"/>
                  </a:lnTo>
                  <a:lnTo>
                    <a:pt x="312" y="200"/>
                  </a:lnTo>
                  <a:lnTo>
                    <a:pt x="310" y="204"/>
                  </a:lnTo>
                  <a:lnTo>
                    <a:pt x="310" y="208"/>
                  </a:lnTo>
                  <a:lnTo>
                    <a:pt x="314" y="216"/>
                  </a:lnTo>
                  <a:lnTo>
                    <a:pt x="320" y="222"/>
                  </a:lnTo>
                  <a:lnTo>
                    <a:pt x="320" y="226"/>
                  </a:lnTo>
                  <a:lnTo>
                    <a:pt x="318" y="228"/>
                  </a:lnTo>
                  <a:lnTo>
                    <a:pt x="320" y="232"/>
                  </a:lnTo>
                  <a:lnTo>
                    <a:pt x="322" y="236"/>
                  </a:lnTo>
                  <a:lnTo>
                    <a:pt x="320" y="238"/>
                  </a:lnTo>
                  <a:lnTo>
                    <a:pt x="322" y="244"/>
                  </a:lnTo>
                  <a:lnTo>
                    <a:pt x="322" y="250"/>
                  </a:lnTo>
                  <a:lnTo>
                    <a:pt x="322" y="252"/>
                  </a:lnTo>
                  <a:lnTo>
                    <a:pt x="324" y="256"/>
                  </a:lnTo>
                  <a:lnTo>
                    <a:pt x="326" y="258"/>
                  </a:lnTo>
                  <a:lnTo>
                    <a:pt x="328" y="260"/>
                  </a:lnTo>
                  <a:lnTo>
                    <a:pt x="328" y="264"/>
                  </a:lnTo>
                  <a:lnTo>
                    <a:pt x="320" y="264"/>
                  </a:lnTo>
                  <a:lnTo>
                    <a:pt x="310" y="266"/>
                  </a:lnTo>
                  <a:lnTo>
                    <a:pt x="308" y="268"/>
                  </a:lnTo>
                  <a:lnTo>
                    <a:pt x="304" y="268"/>
                  </a:lnTo>
                  <a:lnTo>
                    <a:pt x="302" y="266"/>
                  </a:lnTo>
                  <a:lnTo>
                    <a:pt x="296" y="268"/>
                  </a:lnTo>
                  <a:lnTo>
                    <a:pt x="296" y="272"/>
                  </a:lnTo>
                  <a:lnTo>
                    <a:pt x="294" y="276"/>
                  </a:lnTo>
                  <a:lnTo>
                    <a:pt x="288" y="280"/>
                  </a:lnTo>
                  <a:lnTo>
                    <a:pt x="284" y="288"/>
                  </a:lnTo>
                  <a:lnTo>
                    <a:pt x="280" y="294"/>
                  </a:lnTo>
                  <a:lnTo>
                    <a:pt x="278" y="300"/>
                  </a:lnTo>
                  <a:lnTo>
                    <a:pt x="284" y="306"/>
                  </a:lnTo>
                  <a:lnTo>
                    <a:pt x="284" y="310"/>
                  </a:lnTo>
                  <a:lnTo>
                    <a:pt x="282" y="316"/>
                  </a:lnTo>
                  <a:lnTo>
                    <a:pt x="278" y="314"/>
                  </a:lnTo>
                  <a:lnTo>
                    <a:pt x="274" y="314"/>
                  </a:lnTo>
                  <a:lnTo>
                    <a:pt x="272" y="308"/>
                  </a:lnTo>
                  <a:lnTo>
                    <a:pt x="270" y="306"/>
                  </a:lnTo>
                  <a:lnTo>
                    <a:pt x="266" y="304"/>
                  </a:lnTo>
                  <a:lnTo>
                    <a:pt x="262" y="304"/>
                  </a:lnTo>
                  <a:lnTo>
                    <a:pt x="260" y="304"/>
                  </a:lnTo>
                  <a:lnTo>
                    <a:pt x="254" y="306"/>
                  </a:lnTo>
                  <a:lnTo>
                    <a:pt x="250" y="306"/>
                  </a:lnTo>
                  <a:lnTo>
                    <a:pt x="248" y="304"/>
                  </a:lnTo>
                  <a:lnTo>
                    <a:pt x="244" y="304"/>
                  </a:lnTo>
                  <a:lnTo>
                    <a:pt x="240" y="308"/>
                  </a:lnTo>
                  <a:lnTo>
                    <a:pt x="234" y="310"/>
                  </a:lnTo>
                  <a:lnTo>
                    <a:pt x="232" y="308"/>
                  </a:lnTo>
                  <a:lnTo>
                    <a:pt x="230" y="302"/>
                  </a:lnTo>
                  <a:lnTo>
                    <a:pt x="228" y="298"/>
                  </a:lnTo>
                  <a:lnTo>
                    <a:pt x="226" y="294"/>
                  </a:lnTo>
                  <a:lnTo>
                    <a:pt x="224" y="296"/>
                  </a:lnTo>
                  <a:lnTo>
                    <a:pt x="222" y="298"/>
                  </a:lnTo>
                  <a:lnTo>
                    <a:pt x="218" y="298"/>
                  </a:lnTo>
                  <a:lnTo>
                    <a:pt x="214" y="302"/>
                  </a:lnTo>
                  <a:lnTo>
                    <a:pt x="212" y="306"/>
                  </a:lnTo>
                  <a:lnTo>
                    <a:pt x="208" y="306"/>
                  </a:lnTo>
                  <a:lnTo>
                    <a:pt x="206" y="300"/>
                  </a:lnTo>
                  <a:lnTo>
                    <a:pt x="204" y="298"/>
                  </a:lnTo>
                  <a:lnTo>
                    <a:pt x="200" y="298"/>
                  </a:lnTo>
                  <a:lnTo>
                    <a:pt x="196" y="302"/>
                  </a:lnTo>
                  <a:lnTo>
                    <a:pt x="194" y="296"/>
                  </a:lnTo>
                  <a:lnTo>
                    <a:pt x="190" y="294"/>
                  </a:lnTo>
                  <a:lnTo>
                    <a:pt x="188" y="298"/>
                  </a:lnTo>
                  <a:lnTo>
                    <a:pt x="182" y="298"/>
                  </a:lnTo>
                  <a:lnTo>
                    <a:pt x="178" y="296"/>
                  </a:lnTo>
                  <a:lnTo>
                    <a:pt x="176" y="296"/>
                  </a:lnTo>
                  <a:lnTo>
                    <a:pt x="176" y="302"/>
                  </a:lnTo>
                  <a:lnTo>
                    <a:pt x="172" y="304"/>
                  </a:lnTo>
                  <a:lnTo>
                    <a:pt x="172" y="302"/>
                  </a:lnTo>
                  <a:lnTo>
                    <a:pt x="172" y="296"/>
                  </a:lnTo>
                  <a:lnTo>
                    <a:pt x="168" y="294"/>
                  </a:lnTo>
                  <a:lnTo>
                    <a:pt x="164" y="294"/>
                  </a:lnTo>
                  <a:lnTo>
                    <a:pt x="156" y="296"/>
                  </a:lnTo>
                  <a:lnTo>
                    <a:pt x="156" y="292"/>
                  </a:lnTo>
                  <a:lnTo>
                    <a:pt x="152" y="292"/>
                  </a:lnTo>
                  <a:lnTo>
                    <a:pt x="152" y="286"/>
                  </a:lnTo>
                  <a:lnTo>
                    <a:pt x="148" y="286"/>
                  </a:lnTo>
                  <a:lnTo>
                    <a:pt x="144" y="288"/>
                  </a:lnTo>
                  <a:lnTo>
                    <a:pt x="134" y="284"/>
                  </a:lnTo>
                  <a:lnTo>
                    <a:pt x="124" y="282"/>
                  </a:lnTo>
                  <a:lnTo>
                    <a:pt x="124" y="280"/>
                  </a:lnTo>
                  <a:lnTo>
                    <a:pt x="114" y="280"/>
                  </a:lnTo>
                  <a:lnTo>
                    <a:pt x="110" y="276"/>
                  </a:lnTo>
                  <a:lnTo>
                    <a:pt x="106" y="276"/>
                  </a:lnTo>
                  <a:lnTo>
                    <a:pt x="96" y="274"/>
                  </a:lnTo>
                  <a:lnTo>
                    <a:pt x="88" y="276"/>
                  </a:lnTo>
                  <a:lnTo>
                    <a:pt x="80" y="276"/>
                  </a:lnTo>
                  <a:lnTo>
                    <a:pt x="74" y="274"/>
                  </a:lnTo>
                  <a:lnTo>
                    <a:pt x="68" y="276"/>
                  </a:lnTo>
                  <a:lnTo>
                    <a:pt x="62" y="278"/>
                  </a:lnTo>
                  <a:lnTo>
                    <a:pt x="54" y="276"/>
                  </a:lnTo>
                  <a:lnTo>
                    <a:pt x="46" y="278"/>
                  </a:lnTo>
                  <a:lnTo>
                    <a:pt x="42" y="282"/>
                  </a:lnTo>
                  <a:lnTo>
                    <a:pt x="42" y="288"/>
                  </a:lnTo>
                  <a:lnTo>
                    <a:pt x="34" y="292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2" y="294"/>
                  </a:lnTo>
                  <a:lnTo>
                    <a:pt x="16" y="294"/>
                  </a:lnTo>
                  <a:lnTo>
                    <a:pt x="14" y="298"/>
                  </a:lnTo>
                  <a:lnTo>
                    <a:pt x="12" y="296"/>
                  </a:lnTo>
                  <a:lnTo>
                    <a:pt x="18" y="274"/>
                  </a:lnTo>
                  <a:lnTo>
                    <a:pt x="18" y="268"/>
                  </a:lnTo>
                  <a:lnTo>
                    <a:pt x="14" y="264"/>
                  </a:lnTo>
                  <a:lnTo>
                    <a:pt x="12" y="258"/>
                  </a:lnTo>
                  <a:lnTo>
                    <a:pt x="4" y="254"/>
                  </a:lnTo>
                  <a:lnTo>
                    <a:pt x="0" y="254"/>
                  </a:lnTo>
                  <a:lnTo>
                    <a:pt x="2" y="246"/>
                  </a:lnTo>
                  <a:lnTo>
                    <a:pt x="6" y="236"/>
                  </a:lnTo>
                  <a:lnTo>
                    <a:pt x="16" y="230"/>
                  </a:lnTo>
                  <a:lnTo>
                    <a:pt x="24" y="228"/>
                  </a:lnTo>
                  <a:lnTo>
                    <a:pt x="28" y="222"/>
                  </a:lnTo>
                  <a:lnTo>
                    <a:pt x="28" y="216"/>
                  </a:lnTo>
                  <a:lnTo>
                    <a:pt x="26" y="202"/>
                  </a:lnTo>
                  <a:lnTo>
                    <a:pt x="16" y="158"/>
                  </a:lnTo>
                  <a:lnTo>
                    <a:pt x="12" y="14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5">
              <a:extLst>
                <a:ext uri="{FF2B5EF4-FFF2-40B4-BE49-F238E27FC236}">
                  <a16:creationId xmlns:a16="http://schemas.microsoft.com/office/drawing/2014/main" id="{C700B52F-BB26-4BA8-81E0-EDDA127B59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2025" y="4756150"/>
              <a:ext cx="280987" cy="168275"/>
            </a:xfrm>
            <a:custGeom>
              <a:avLst/>
              <a:gdLst>
                <a:gd name="T0" fmla="*/ 535 w 170"/>
                <a:gd name="T1" fmla="*/ 58 h 108"/>
                <a:gd name="T2" fmla="*/ 535 w 170"/>
                <a:gd name="T3" fmla="*/ 94 h 108"/>
                <a:gd name="T4" fmla="*/ 573 w 170"/>
                <a:gd name="T5" fmla="*/ 111 h 108"/>
                <a:gd name="T6" fmla="*/ 613 w 170"/>
                <a:gd name="T7" fmla="*/ 139 h 108"/>
                <a:gd name="T8" fmla="*/ 659 w 170"/>
                <a:gd name="T9" fmla="*/ 121 h 108"/>
                <a:gd name="T10" fmla="*/ 648 w 170"/>
                <a:gd name="T11" fmla="*/ 154 h 108"/>
                <a:gd name="T12" fmla="*/ 659 w 170"/>
                <a:gd name="T13" fmla="*/ 183 h 108"/>
                <a:gd name="T14" fmla="*/ 625 w 170"/>
                <a:gd name="T15" fmla="*/ 167 h 108"/>
                <a:gd name="T16" fmla="*/ 596 w 170"/>
                <a:gd name="T17" fmla="*/ 192 h 108"/>
                <a:gd name="T18" fmla="*/ 596 w 170"/>
                <a:gd name="T19" fmla="*/ 228 h 108"/>
                <a:gd name="T20" fmla="*/ 550 w 170"/>
                <a:gd name="T21" fmla="*/ 213 h 108"/>
                <a:gd name="T22" fmla="*/ 535 w 170"/>
                <a:gd name="T23" fmla="*/ 221 h 108"/>
                <a:gd name="T24" fmla="*/ 510 w 170"/>
                <a:gd name="T25" fmla="*/ 183 h 108"/>
                <a:gd name="T26" fmla="*/ 477 w 170"/>
                <a:gd name="T27" fmla="*/ 215 h 108"/>
                <a:gd name="T28" fmla="*/ 457 w 170"/>
                <a:gd name="T29" fmla="*/ 274 h 108"/>
                <a:gd name="T30" fmla="*/ 411 w 170"/>
                <a:gd name="T31" fmla="*/ 266 h 108"/>
                <a:gd name="T32" fmla="*/ 393 w 170"/>
                <a:gd name="T33" fmla="*/ 250 h 108"/>
                <a:gd name="T34" fmla="*/ 355 w 170"/>
                <a:gd name="T35" fmla="*/ 195 h 108"/>
                <a:gd name="T36" fmla="*/ 309 w 170"/>
                <a:gd name="T37" fmla="*/ 239 h 108"/>
                <a:gd name="T38" fmla="*/ 272 w 170"/>
                <a:gd name="T39" fmla="*/ 274 h 108"/>
                <a:gd name="T40" fmla="*/ 185 w 170"/>
                <a:gd name="T41" fmla="*/ 281 h 108"/>
                <a:gd name="T42" fmla="*/ 138 w 170"/>
                <a:gd name="T43" fmla="*/ 250 h 108"/>
                <a:gd name="T44" fmla="*/ 76 w 170"/>
                <a:gd name="T45" fmla="*/ 201 h 108"/>
                <a:gd name="T46" fmla="*/ 0 w 170"/>
                <a:gd name="T47" fmla="*/ 239 h 108"/>
                <a:gd name="T48" fmla="*/ 16 w 170"/>
                <a:gd name="T49" fmla="*/ 206 h 108"/>
                <a:gd name="T50" fmla="*/ 16 w 170"/>
                <a:gd name="T51" fmla="*/ 175 h 108"/>
                <a:gd name="T52" fmla="*/ 61 w 170"/>
                <a:gd name="T53" fmla="*/ 127 h 108"/>
                <a:gd name="T54" fmla="*/ 100 w 170"/>
                <a:gd name="T55" fmla="*/ 105 h 108"/>
                <a:gd name="T56" fmla="*/ 148 w 170"/>
                <a:gd name="T57" fmla="*/ 68 h 108"/>
                <a:gd name="T58" fmla="*/ 134 w 170"/>
                <a:gd name="T59" fmla="*/ 64 h 108"/>
                <a:gd name="T60" fmla="*/ 169 w 170"/>
                <a:gd name="T61" fmla="*/ 42 h 108"/>
                <a:gd name="T62" fmla="*/ 199 w 170"/>
                <a:gd name="T63" fmla="*/ 47 h 108"/>
                <a:gd name="T64" fmla="*/ 247 w 170"/>
                <a:gd name="T65" fmla="*/ 31 h 108"/>
                <a:gd name="T66" fmla="*/ 289 w 170"/>
                <a:gd name="T67" fmla="*/ 31 h 108"/>
                <a:gd name="T68" fmla="*/ 341 w 170"/>
                <a:gd name="T69" fmla="*/ 26 h 108"/>
                <a:gd name="T70" fmla="*/ 350 w 170"/>
                <a:gd name="T71" fmla="*/ 15 h 108"/>
                <a:gd name="T72" fmla="*/ 402 w 170"/>
                <a:gd name="T73" fmla="*/ 11 h 108"/>
                <a:gd name="T74" fmla="*/ 427 w 170"/>
                <a:gd name="T75" fmla="*/ 15 h 108"/>
                <a:gd name="T76" fmla="*/ 526 w 170"/>
                <a:gd name="T77" fmla="*/ 31 h 10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0"/>
                <a:gd name="T118" fmla="*/ 0 h 108"/>
                <a:gd name="T119" fmla="*/ 170 w 170"/>
                <a:gd name="T120" fmla="*/ 108 h 10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0" h="108">
                  <a:moveTo>
                    <a:pt x="136" y="12"/>
                  </a:moveTo>
                  <a:lnTo>
                    <a:pt x="138" y="22"/>
                  </a:lnTo>
                  <a:lnTo>
                    <a:pt x="134" y="28"/>
                  </a:lnTo>
                  <a:lnTo>
                    <a:pt x="138" y="36"/>
                  </a:lnTo>
                  <a:lnTo>
                    <a:pt x="136" y="40"/>
                  </a:lnTo>
                  <a:lnTo>
                    <a:pt x="148" y="42"/>
                  </a:lnTo>
                  <a:lnTo>
                    <a:pt x="148" y="46"/>
                  </a:lnTo>
                  <a:lnTo>
                    <a:pt x="158" y="52"/>
                  </a:lnTo>
                  <a:lnTo>
                    <a:pt x="168" y="44"/>
                  </a:lnTo>
                  <a:lnTo>
                    <a:pt x="170" y="46"/>
                  </a:lnTo>
                  <a:lnTo>
                    <a:pt x="170" y="52"/>
                  </a:lnTo>
                  <a:lnTo>
                    <a:pt x="168" y="58"/>
                  </a:lnTo>
                  <a:lnTo>
                    <a:pt x="170" y="64"/>
                  </a:lnTo>
                  <a:lnTo>
                    <a:pt x="170" y="70"/>
                  </a:lnTo>
                  <a:lnTo>
                    <a:pt x="164" y="68"/>
                  </a:lnTo>
                  <a:lnTo>
                    <a:pt x="162" y="64"/>
                  </a:lnTo>
                  <a:lnTo>
                    <a:pt x="156" y="66"/>
                  </a:lnTo>
                  <a:lnTo>
                    <a:pt x="154" y="72"/>
                  </a:lnTo>
                  <a:lnTo>
                    <a:pt x="158" y="76"/>
                  </a:lnTo>
                  <a:lnTo>
                    <a:pt x="154" y="86"/>
                  </a:lnTo>
                  <a:lnTo>
                    <a:pt x="150" y="78"/>
                  </a:lnTo>
                  <a:lnTo>
                    <a:pt x="142" y="80"/>
                  </a:lnTo>
                  <a:lnTo>
                    <a:pt x="142" y="82"/>
                  </a:lnTo>
                  <a:lnTo>
                    <a:pt x="138" y="84"/>
                  </a:lnTo>
                  <a:lnTo>
                    <a:pt x="134" y="80"/>
                  </a:lnTo>
                  <a:lnTo>
                    <a:pt x="132" y="70"/>
                  </a:lnTo>
                  <a:lnTo>
                    <a:pt x="124" y="72"/>
                  </a:lnTo>
                  <a:lnTo>
                    <a:pt x="124" y="82"/>
                  </a:lnTo>
                  <a:lnTo>
                    <a:pt x="118" y="92"/>
                  </a:lnTo>
                  <a:lnTo>
                    <a:pt x="118" y="104"/>
                  </a:lnTo>
                  <a:lnTo>
                    <a:pt x="112" y="108"/>
                  </a:lnTo>
                  <a:lnTo>
                    <a:pt x="106" y="100"/>
                  </a:lnTo>
                  <a:lnTo>
                    <a:pt x="108" y="96"/>
                  </a:lnTo>
                  <a:lnTo>
                    <a:pt x="102" y="94"/>
                  </a:lnTo>
                  <a:lnTo>
                    <a:pt x="92" y="84"/>
                  </a:lnTo>
                  <a:lnTo>
                    <a:pt x="92" y="74"/>
                  </a:lnTo>
                  <a:lnTo>
                    <a:pt x="80" y="84"/>
                  </a:lnTo>
                  <a:lnTo>
                    <a:pt x="80" y="90"/>
                  </a:lnTo>
                  <a:lnTo>
                    <a:pt x="76" y="100"/>
                  </a:lnTo>
                  <a:lnTo>
                    <a:pt x="70" y="104"/>
                  </a:lnTo>
                  <a:lnTo>
                    <a:pt x="60" y="100"/>
                  </a:lnTo>
                  <a:lnTo>
                    <a:pt x="48" y="106"/>
                  </a:lnTo>
                  <a:lnTo>
                    <a:pt x="38" y="104"/>
                  </a:lnTo>
                  <a:lnTo>
                    <a:pt x="36" y="94"/>
                  </a:lnTo>
                  <a:lnTo>
                    <a:pt x="30" y="74"/>
                  </a:lnTo>
                  <a:lnTo>
                    <a:pt x="20" y="76"/>
                  </a:lnTo>
                  <a:lnTo>
                    <a:pt x="6" y="94"/>
                  </a:lnTo>
                  <a:lnTo>
                    <a:pt x="0" y="90"/>
                  </a:lnTo>
                  <a:lnTo>
                    <a:pt x="4" y="86"/>
                  </a:lnTo>
                  <a:lnTo>
                    <a:pt x="4" y="78"/>
                  </a:lnTo>
                  <a:lnTo>
                    <a:pt x="2" y="74"/>
                  </a:lnTo>
                  <a:lnTo>
                    <a:pt x="4" y="66"/>
                  </a:lnTo>
                  <a:lnTo>
                    <a:pt x="16" y="56"/>
                  </a:lnTo>
                  <a:lnTo>
                    <a:pt x="16" y="48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34" y="28"/>
                  </a:lnTo>
                  <a:lnTo>
                    <a:pt x="38" y="26"/>
                  </a:lnTo>
                  <a:lnTo>
                    <a:pt x="36" y="24"/>
                  </a:lnTo>
                  <a:lnTo>
                    <a:pt x="34" y="24"/>
                  </a:lnTo>
                  <a:lnTo>
                    <a:pt x="38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52" y="18"/>
                  </a:lnTo>
                  <a:lnTo>
                    <a:pt x="60" y="10"/>
                  </a:lnTo>
                  <a:lnTo>
                    <a:pt x="64" y="12"/>
                  </a:lnTo>
                  <a:lnTo>
                    <a:pt x="68" y="10"/>
                  </a:lnTo>
                  <a:lnTo>
                    <a:pt x="74" y="12"/>
                  </a:lnTo>
                  <a:lnTo>
                    <a:pt x="84" y="8"/>
                  </a:lnTo>
                  <a:lnTo>
                    <a:pt x="88" y="10"/>
                  </a:lnTo>
                  <a:lnTo>
                    <a:pt x="94" y="10"/>
                  </a:lnTo>
                  <a:lnTo>
                    <a:pt x="90" y="6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0" y="6"/>
                  </a:lnTo>
                  <a:lnTo>
                    <a:pt x="124" y="6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6">
              <a:extLst>
                <a:ext uri="{FF2B5EF4-FFF2-40B4-BE49-F238E27FC236}">
                  <a16:creationId xmlns:a16="http://schemas.microsoft.com/office/drawing/2014/main" id="{9B94D0B7-4833-41A9-961B-DA1D214701ED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7">
              <a:extLst>
                <a:ext uri="{FF2B5EF4-FFF2-40B4-BE49-F238E27FC236}">
                  <a16:creationId xmlns:a16="http://schemas.microsoft.com/office/drawing/2014/main" id="{B73CDB6B-E038-45F6-86C6-8B931D10DB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7350" y="4591050"/>
              <a:ext cx="360362" cy="160337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8">
              <a:extLst>
                <a:ext uri="{FF2B5EF4-FFF2-40B4-BE49-F238E27FC236}">
                  <a16:creationId xmlns:a16="http://schemas.microsoft.com/office/drawing/2014/main" id="{5EA40BD2-4C30-4DA6-A48F-6F444CAA6B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5" y="4838700"/>
              <a:ext cx="200025" cy="123825"/>
            </a:xfrm>
            <a:custGeom>
              <a:avLst/>
              <a:gdLst>
                <a:gd name="T0" fmla="*/ 110 w 122"/>
                <a:gd name="T1" fmla="*/ 63 h 80"/>
                <a:gd name="T2" fmla="*/ 209 w 122"/>
                <a:gd name="T3" fmla="*/ 42 h 80"/>
                <a:gd name="T4" fmla="*/ 321 w 122"/>
                <a:gd name="T5" fmla="*/ 26 h 80"/>
                <a:gd name="T6" fmla="*/ 419 w 122"/>
                <a:gd name="T7" fmla="*/ 0 h 80"/>
                <a:gd name="T8" fmla="*/ 455 w 122"/>
                <a:gd name="T9" fmla="*/ 58 h 80"/>
                <a:gd name="T10" fmla="*/ 437 w 122"/>
                <a:gd name="T11" fmla="*/ 54 h 80"/>
                <a:gd name="T12" fmla="*/ 419 w 122"/>
                <a:gd name="T13" fmla="*/ 58 h 80"/>
                <a:gd name="T14" fmla="*/ 411 w 122"/>
                <a:gd name="T15" fmla="*/ 74 h 80"/>
                <a:gd name="T16" fmla="*/ 394 w 122"/>
                <a:gd name="T17" fmla="*/ 74 h 80"/>
                <a:gd name="T18" fmla="*/ 380 w 122"/>
                <a:gd name="T19" fmla="*/ 86 h 80"/>
                <a:gd name="T20" fmla="*/ 361 w 122"/>
                <a:gd name="T21" fmla="*/ 89 h 80"/>
                <a:gd name="T22" fmla="*/ 336 w 122"/>
                <a:gd name="T23" fmla="*/ 94 h 80"/>
                <a:gd name="T24" fmla="*/ 321 w 122"/>
                <a:gd name="T25" fmla="*/ 110 h 80"/>
                <a:gd name="T26" fmla="*/ 336 w 122"/>
                <a:gd name="T27" fmla="*/ 120 h 80"/>
                <a:gd name="T28" fmla="*/ 336 w 122"/>
                <a:gd name="T29" fmla="*/ 137 h 80"/>
                <a:gd name="T30" fmla="*/ 336 w 122"/>
                <a:gd name="T31" fmla="*/ 152 h 80"/>
                <a:gd name="T32" fmla="*/ 315 w 122"/>
                <a:gd name="T33" fmla="*/ 152 h 80"/>
                <a:gd name="T34" fmla="*/ 292 w 122"/>
                <a:gd name="T35" fmla="*/ 156 h 80"/>
                <a:gd name="T36" fmla="*/ 277 w 122"/>
                <a:gd name="T37" fmla="*/ 167 h 80"/>
                <a:gd name="T38" fmla="*/ 284 w 122"/>
                <a:gd name="T39" fmla="*/ 175 h 80"/>
                <a:gd name="T40" fmla="*/ 284 w 122"/>
                <a:gd name="T41" fmla="*/ 183 h 80"/>
                <a:gd name="T42" fmla="*/ 277 w 122"/>
                <a:gd name="T43" fmla="*/ 189 h 80"/>
                <a:gd name="T44" fmla="*/ 284 w 122"/>
                <a:gd name="T45" fmla="*/ 206 h 80"/>
                <a:gd name="T46" fmla="*/ 270 w 122"/>
                <a:gd name="T47" fmla="*/ 210 h 80"/>
                <a:gd name="T48" fmla="*/ 254 w 122"/>
                <a:gd name="T49" fmla="*/ 206 h 80"/>
                <a:gd name="T50" fmla="*/ 233 w 122"/>
                <a:gd name="T51" fmla="*/ 200 h 80"/>
                <a:gd name="T52" fmla="*/ 226 w 122"/>
                <a:gd name="T53" fmla="*/ 206 h 80"/>
                <a:gd name="T54" fmla="*/ 198 w 122"/>
                <a:gd name="T55" fmla="*/ 206 h 80"/>
                <a:gd name="T56" fmla="*/ 187 w 122"/>
                <a:gd name="T57" fmla="*/ 189 h 80"/>
                <a:gd name="T58" fmla="*/ 181 w 122"/>
                <a:gd name="T59" fmla="*/ 183 h 80"/>
                <a:gd name="T60" fmla="*/ 181 w 122"/>
                <a:gd name="T61" fmla="*/ 179 h 80"/>
                <a:gd name="T62" fmla="*/ 171 w 122"/>
                <a:gd name="T63" fmla="*/ 183 h 80"/>
                <a:gd name="T64" fmla="*/ 166 w 122"/>
                <a:gd name="T65" fmla="*/ 195 h 80"/>
                <a:gd name="T66" fmla="*/ 150 w 122"/>
                <a:gd name="T67" fmla="*/ 206 h 80"/>
                <a:gd name="T68" fmla="*/ 126 w 122"/>
                <a:gd name="T69" fmla="*/ 200 h 80"/>
                <a:gd name="T70" fmla="*/ 107 w 122"/>
                <a:gd name="T71" fmla="*/ 206 h 80"/>
                <a:gd name="T72" fmla="*/ 88 w 122"/>
                <a:gd name="T73" fmla="*/ 200 h 80"/>
                <a:gd name="T74" fmla="*/ 88 w 122"/>
                <a:gd name="T75" fmla="*/ 206 h 80"/>
                <a:gd name="T76" fmla="*/ 76 w 122"/>
                <a:gd name="T77" fmla="*/ 206 h 80"/>
                <a:gd name="T78" fmla="*/ 61 w 122"/>
                <a:gd name="T79" fmla="*/ 206 h 80"/>
                <a:gd name="T80" fmla="*/ 30 w 122"/>
                <a:gd name="T81" fmla="*/ 206 h 80"/>
                <a:gd name="T82" fmla="*/ 65 w 122"/>
                <a:gd name="T83" fmla="*/ 175 h 80"/>
                <a:gd name="T84" fmla="*/ 37 w 122"/>
                <a:gd name="T85" fmla="*/ 132 h 80"/>
                <a:gd name="T86" fmla="*/ 21 w 122"/>
                <a:gd name="T87" fmla="*/ 94 h 80"/>
                <a:gd name="T88" fmla="*/ 37 w 122"/>
                <a:gd name="T89" fmla="*/ 68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2"/>
                <a:gd name="T136" fmla="*/ 0 h 80"/>
                <a:gd name="T137" fmla="*/ 122 w 122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2" h="80">
                  <a:moveTo>
                    <a:pt x="8" y="20"/>
                  </a:moveTo>
                  <a:lnTo>
                    <a:pt x="26" y="22"/>
                  </a:lnTo>
                  <a:lnTo>
                    <a:pt x="30" y="24"/>
                  </a:lnTo>
                  <a:lnTo>
                    <a:pt x="40" y="24"/>
                  </a:lnTo>
                  <a:lnTo>
                    <a:pt x="44" y="28"/>
                  </a:lnTo>
                  <a:lnTo>
                    <a:pt x="56" y="16"/>
                  </a:lnTo>
                  <a:lnTo>
                    <a:pt x="66" y="12"/>
                  </a:lnTo>
                  <a:lnTo>
                    <a:pt x="80" y="16"/>
                  </a:lnTo>
                  <a:lnTo>
                    <a:pt x="86" y="10"/>
                  </a:lnTo>
                  <a:lnTo>
                    <a:pt x="100" y="12"/>
                  </a:lnTo>
                  <a:lnTo>
                    <a:pt x="100" y="4"/>
                  </a:lnTo>
                  <a:lnTo>
                    <a:pt x="112" y="0"/>
                  </a:lnTo>
                  <a:lnTo>
                    <a:pt x="116" y="14"/>
                  </a:lnTo>
                  <a:lnTo>
                    <a:pt x="122" y="22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2" y="22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0" y="28"/>
                  </a:lnTo>
                  <a:lnTo>
                    <a:pt x="108" y="28"/>
                  </a:lnTo>
                  <a:lnTo>
                    <a:pt x="108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02" y="32"/>
                  </a:lnTo>
                  <a:lnTo>
                    <a:pt x="100" y="32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8"/>
                  </a:lnTo>
                  <a:lnTo>
                    <a:pt x="86" y="40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90" y="46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88" y="58"/>
                  </a:lnTo>
                  <a:lnTo>
                    <a:pt x="86" y="58"/>
                  </a:lnTo>
                  <a:lnTo>
                    <a:pt x="84" y="58"/>
                  </a:lnTo>
                  <a:lnTo>
                    <a:pt x="82" y="58"/>
                  </a:lnTo>
                  <a:lnTo>
                    <a:pt x="80" y="60"/>
                  </a:lnTo>
                  <a:lnTo>
                    <a:pt x="78" y="60"/>
                  </a:lnTo>
                  <a:lnTo>
                    <a:pt x="78" y="62"/>
                  </a:lnTo>
                  <a:lnTo>
                    <a:pt x="76" y="62"/>
                  </a:lnTo>
                  <a:lnTo>
                    <a:pt x="74" y="64"/>
                  </a:lnTo>
                  <a:lnTo>
                    <a:pt x="76" y="66"/>
                  </a:lnTo>
                  <a:lnTo>
                    <a:pt x="78" y="68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4" y="72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4" y="78"/>
                  </a:lnTo>
                  <a:lnTo>
                    <a:pt x="72" y="80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8"/>
                  </a:lnTo>
                  <a:lnTo>
                    <a:pt x="58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6" y="68"/>
                  </a:lnTo>
                  <a:lnTo>
                    <a:pt x="46" y="70"/>
                  </a:lnTo>
                  <a:lnTo>
                    <a:pt x="44" y="72"/>
                  </a:lnTo>
                  <a:lnTo>
                    <a:pt x="44" y="74"/>
                  </a:lnTo>
                  <a:lnTo>
                    <a:pt x="42" y="76"/>
                  </a:lnTo>
                  <a:lnTo>
                    <a:pt x="40" y="78"/>
                  </a:lnTo>
                  <a:lnTo>
                    <a:pt x="36" y="78"/>
                  </a:lnTo>
                  <a:lnTo>
                    <a:pt x="34" y="76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28" y="78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8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8" y="78"/>
                  </a:lnTo>
                  <a:lnTo>
                    <a:pt x="14" y="76"/>
                  </a:lnTo>
                  <a:lnTo>
                    <a:pt x="16" y="72"/>
                  </a:lnTo>
                  <a:lnTo>
                    <a:pt x="18" y="66"/>
                  </a:lnTo>
                  <a:lnTo>
                    <a:pt x="12" y="62"/>
                  </a:lnTo>
                  <a:lnTo>
                    <a:pt x="6" y="60"/>
                  </a:lnTo>
                  <a:lnTo>
                    <a:pt x="10" y="50"/>
                  </a:lnTo>
                  <a:lnTo>
                    <a:pt x="4" y="48"/>
                  </a:lnTo>
                  <a:lnTo>
                    <a:pt x="10" y="42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0" y="32"/>
                  </a:lnTo>
                  <a:lnTo>
                    <a:pt x="10" y="26"/>
                  </a:lnTo>
                  <a:lnTo>
                    <a:pt x="8" y="2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9">
              <a:extLst>
                <a:ext uri="{FF2B5EF4-FFF2-40B4-BE49-F238E27FC236}">
                  <a16:creationId xmlns:a16="http://schemas.microsoft.com/office/drawing/2014/main" id="{C49C0A37-FCFD-435A-9A58-ED93014BD5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30">
              <a:extLst>
                <a:ext uri="{FF2B5EF4-FFF2-40B4-BE49-F238E27FC236}">
                  <a16:creationId xmlns:a16="http://schemas.microsoft.com/office/drawing/2014/main" id="{B256D58E-F04A-4EBE-8D1C-4CF6EABAAFC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51450" y="4868863"/>
              <a:ext cx="373062" cy="347662"/>
            </a:xfrm>
            <a:custGeom>
              <a:avLst/>
              <a:gdLst>
                <a:gd name="T0" fmla="*/ 428 w 226"/>
                <a:gd name="T1" fmla="*/ 436 h 224"/>
                <a:gd name="T2" fmla="*/ 229 w 226"/>
                <a:gd name="T3" fmla="*/ 325 h 224"/>
                <a:gd name="T4" fmla="*/ 198 w 226"/>
                <a:gd name="T5" fmla="*/ 258 h 224"/>
                <a:gd name="T6" fmla="*/ 106 w 226"/>
                <a:gd name="T7" fmla="*/ 208 h 224"/>
                <a:gd name="T8" fmla="*/ 50 w 226"/>
                <a:gd name="T9" fmla="*/ 252 h 224"/>
                <a:gd name="T10" fmla="*/ 21 w 226"/>
                <a:gd name="T11" fmla="*/ 156 h 224"/>
                <a:gd name="T12" fmla="*/ 50 w 226"/>
                <a:gd name="T13" fmla="*/ 151 h 224"/>
                <a:gd name="T14" fmla="*/ 65 w 226"/>
                <a:gd name="T15" fmla="*/ 146 h 224"/>
                <a:gd name="T16" fmla="*/ 88 w 226"/>
                <a:gd name="T17" fmla="*/ 151 h 224"/>
                <a:gd name="T18" fmla="*/ 126 w 226"/>
                <a:gd name="T19" fmla="*/ 151 h 224"/>
                <a:gd name="T20" fmla="*/ 139 w 226"/>
                <a:gd name="T21" fmla="*/ 137 h 224"/>
                <a:gd name="T22" fmla="*/ 157 w 226"/>
                <a:gd name="T23" fmla="*/ 124 h 224"/>
                <a:gd name="T24" fmla="*/ 164 w 226"/>
                <a:gd name="T25" fmla="*/ 137 h 224"/>
                <a:gd name="T26" fmla="*/ 195 w 226"/>
                <a:gd name="T27" fmla="*/ 151 h 224"/>
                <a:gd name="T28" fmla="*/ 215 w 226"/>
                <a:gd name="T29" fmla="*/ 151 h 224"/>
                <a:gd name="T30" fmla="*/ 244 w 226"/>
                <a:gd name="T31" fmla="*/ 156 h 224"/>
                <a:gd name="T32" fmla="*/ 259 w 226"/>
                <a:gd name="T33" fmla="*/ 141 h 224"/>
                <a:gd name="T34" fmla="*/ 267 w 226"/>
                <a:gd name="T35" fmla="*/ 124 h 224"/>
                <a:gd name="T36" fmla="*/ 254 w 226"/>
                <a:gd name="T37" fmla="*/ 117 h 224"/>
                <a:gd name="T38" fmla="*/ 279 w 226"/>
                <a:gd name="T39" fmla="*/ 101 h 224"/>
                <a:gd name="T40" fmla="*/ 307 w 226"/>
                <a:gd name="T41" fmla="*/ 94 h 224"/>
                <a:gd name="T42" fmla="*/ 307 w 226"/>
                <a:gd name="T43" fmla="*/ 68 h 224"/>
                <a:gd name="T44" fmla="*/ 303 w 226"/>
                <a:gd name="T45" fmla="*/ 47 h 224"/>
                <a:gd name="T46" fmla="*/ 341 w 226"/>
                <a:gd name="T47" fmla="*/ 36 h 224"/>
                <a:gd name="T48" fmla="*/ 367 w 226"/>
                <a:gd name="T49" fmla="*/ 21 h 224"/>
                <a:gd name="T50" fmla="*/ 393 w 226"/>
                <a:gd name="T51" fmla="*/ 15 h 224"/>
                <a:gd name="T52" fmla="*/ 413 w 226"/>
                <a:gd name="T53" fmla="*/ 0 h 224"/>
                <a:gd name="T54" fmla="*/ 540 w 226"/>
                <a:gd name="T55" fmla="*/ 58 h 224"/>
                <a:gd name="T56" fmla="*/ 756 w 226"/>
                <a:gd name="T57" fmla="*/ 89 h 224"/>
                <a:gd name="T58" fmla="*/ 768 w 226"/>
                <a:gd name="T59" fmla="*/ 120 h 224"/>
                <a:gd name="T60" fmla="*/ 776 w 226"/>
                <a:gd name="T61" fmla="*/ 141 h 224"/>
                <a:gd name="T62" fmla="*/ 776 w 226"/>
                <a:gd name="T63" fmla="*/ 151 h 224"/>
                <a:gd name="T64" fmla="*/ 792 w 226"/>
                <a:gd name="T65" fmla="*/ 167 h 224"/>
                <a:gd name="T66" fmla="*/ 819 w 226"/>
                <a:gd name="T67" fmla="*/ 183 h 224"/>
                <a:gd name="T68" fmla="*/ 828 w 226"/>
                <a:gd name="T69" fmla="*/ 195 h 224"/>
                <a:gd name="T70" fmla="*/ 806 w 226"/>
                <a:gd name="T71" fmla="*/ 189 h 224"/>
                <a:gd name="T72" fmla="*/ 792 w 226"/>
                <a:gd name="T73" fmla="*/ 208 h 224"/>
                <a:gd name="T74" fmla="*/ 792 w 226"/>
                <a:gd name="T75" fmla="*/ 230 h 224"/>
                <a:gd name="T76" fmla="*/ 768 w 226"/>
                <a:gd name="T77" fmla="*/ 241 h 224"/>
                <a:gd name="T78" fmla="*/ 741 w 226"/>
                <a:gd name="T79" fmla="*/ 221 h 224"/>
                <a:gd name="T80" fmla="*/ 710 w 226"/>
                <a:gd name="T81" fmla="*/ 208 h 224"/>
                <a:gd name="T82" fmla="*/ 666 w 226"/>
                <a:gd name="T83" fmla="*/ 205 h 224"/>
                <a:gd name="T84" fmla="*/ 627 w 226"/>
                <a:gd name="T85" fmla="*/ 208 h 224"/>
                <a:gd name="T86" fmla="*/ 567 w 226"/>
                <a:gd name="T87" fmla="*/ 205 h 224"/>
                <a:gd name="T88" fmla="*/ 527 w 226"/>
                <a:gd name="T89" fmla="*/ 197 h 224"/>
                <a:gd name="T90" fmla="*/ 481 w 226"/>
                <a:gd name="T91" fmla="*/ 183 h 224"/>
                <a:gd name="T92" fmla="*/ 424 w 226"/>
                <a:gd name="T93" fmla="*/ 189 h 224"/>
                <a:gd name="T94" fmla="*/ 367 w 226"/>
                <a:gd name="T95" fmla="*/ 208 h 224"/>
                <a:gd name="T96" fmla="*/ 325 w 226"/>
                <a:gd name="T97" fmla="*/ 197 h 224"/>
                <a:gd name="T98" fmla="*/ 317 w 226"/>
                <a:gd name="T99" fmla="*/ 241 h 224"/>
                <a:gd name="T100" fmla="*/ 347 w 226"/>
                <a:gd name="T101" fmla="*/ 261 h 224"/>
                <a:gd name="T102" fmla="*/ 382 w 226"/>
                <a:gd name="T103" fmla="*/ 316 h 224"/>
                <a:gd name="T104" fmla="*/ 400 w 226"/>
                <a:gd name="T105" fmla="*/ 342 h 224"/>
                <a:gd name="T106" fmla="*/ 451 w 226"/>
                <a:gd name="T107" fmla="*/ 382 h 224"/>
                <a:gd name="T108" fmla="*/ 512 w 226"/>
                <a:gd name="T109" fmla="*/ 431 h 224"/>
                <a:gd name="T110" fmla="*/ 547 w 226"/>
                <a:gd name="T111" fmla="*/ 466 h 224"/>
                <a:gd name="T112" fmla="*/ 567 w 226"/>
                <a:gd name="T113" fmla="*/ 510 h 224"/>
                <a:gd name="T114" fmla="*/ 610 w 226"/>
                <a:gd name="T115" fmla="*/ 513 h 224"/>
                <a:gd name="T116" fmla="*/ 649 w 226"/>
                <a:gd name="T117" fmla="*/ 537 h 224"/>
                <a:gd name="T118" fmla="*/ 696 w 226"/>
                <a:gd name="T119" fmla="*/ 555 h 224"/>
                <a:gd name="T120" fmla="*/ 710 w 226"/>
                <a:gd name="T121" fmla="*/ 571 h 224"/>
                <a:gd name="T122" fmla="*/ 583 w 226"/>
                <a:gd name="T123" fmla="*/ 517 h 22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6"/>
                <a:gd name="T187" fmla="*/ 0 h 224"/>
                <a:gd name="T188" fmla="*/ 226 w 226"/>
                <a:gd name="T189" fmla="*/ 224 h 22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6" h="224">
                  <a:moveTo>
                    <a:pt x="154" y="194"/>
                  </a:moveTo>
                  <a:lnTo>
                    <a:pt x="136" y="178"/>
                  </a:lnTo>
                  <a:lnTo>
                    <a:pt x="134" y="174"/>
                  </a:lnTo>
                  <a:lnTo>
                    <a:pt x="120" y="170"/>
                  </a:lnTo>
                  <a:lnTo>
                    <a:pt x="116" y="166"/>
                  </a:lnTo>
                  <a:lnTo>
                    <a:pt x="110" y="164"/>
                  </a:lnTo>
                  <a:lnTo>
                    <a:pt x="98" y="168"/>
                  </a:lnTo>
                  <a:lnTo>
                    <a:pt x="92" y="156"/>
                  </a:lnTo>
                  <a:lnTo>
                    <a:pt x="72" y="140"/>
                  </a:lnTo>
                  <a:lnTo>
                    <a:pt x="62" y="124"/>
                  </a:lnTo>
                  <a:lnTo>
                    <a:pt x="68" y="124"/>
                  </a:lnTo>
                  <a:lnTo>
                    <a:pt x="78" y="124"/>
                  </a:lnTo>
                  <a:lnTo>
                    <a:pt x="68" y="120"/>
                  </a:lnTo>
                  <a:lnTo>
                    <a:pt x="56" y="108"/>
                  </a:lnTo>
                  <a:lnTo>
                    <a:pt x="54" y="98"/>
                  </a:lnTo>
                  <a:lnTo>
                    <a:pt x="54" y="88"/>
                  </a:lnTo>
                  <a:lnTo>
                    <a:pt x="50" y="80"/>
                  </a:lnTo>
                  <a:lnTo>
                    <a:pt x="38" y="70"/>
                  </a:lnTo>
                  <a:lnTo>
                    <a:pt x="32" y="66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20" y="90"/>
                  </a:lnTo>
                  <a:lnTo>
                    <a:pt x="18" y="94"/>
                  </a:lnTo>
                  <a:lnTo>
                    <a:pt x="14" y="96"/>
                  </a:lnTo>
                  <a:lnTo>
                    <a:pt x="6" y="80"/>
                  </a:lnTo>
                  <a:lnTo>
                    <a:pt x="4" y="74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6" y="60"/>
                  </a:lnTo>
                  <a:lnTo>
                    <a:pt x="8" y="60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2" y="58"/>
                  </a:lnTo>
                  <a:lnTo>
                    <a:pt x="24" y="58"/>
                  </a:lnTo>
                  <a:lnTo>
                    <a:pt x="26" y="58"/>
                  </a:lnTo>
                  <a:lnTo>
                    <a:pt x="28" y="56"/>
                  </a:lnTo>
                  <a:lnTo>
                    <a:pt x="30" y="58"/>
                  </a:lnTo>
                  <a:lnTo>
                    <a:pt x="34" y="58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40" y="50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2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8" y="58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70" y="54"/>
                  </a:lnTo>
                  <a:lnTo>
                    <a:pt x="68" y="52"/>
                  </a:lnTo>
                  <a:lnTo>
                    <a:pt x="68" y="50"/>
                  </a:lnTo>
                  <a:lnTo>
                    <a:pt x="70" y="50"/>
                  </a:lnTo>
                  <a:lnTo>
                    <a:pt x="72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70" y="42"/>
                  </a:lnTo>
                  <a:lnTo>
                    <a:pt x="72" y="42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2" y="38"/>
                  </a:lnTo>
                  <a:lnTo>
                    <a:pt x="84" y="38"/>
                  </a:lnTo>
                  <a:lnTo>
                    <a:pt x="84" y="36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6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0" y="22"/>
                  </a:lnTo>
                  <a:lnTo>
                    <a:pt x="80" y="20"/>
                  </a:lnTo>
                  <a:lnTo>
                    <a:pt x="82" y="18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4" y="12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2"/>
                  </a:lnTo>
                  <a:lnTo>
                    <a:pt x="120" y="8"/>
                  </a:lnTo>
                  <a:lnTo>
                    <a:pt x="146" y="22"/>
                  </a:lnTo>
                  <a:lnTo>
                    <a:pt x="164" y="40"/>
                  </a:lnTo>
                  <a:lnTo>
                    <a:pt x="174" y="42"/>
                  </a:lnTo>
                  <a:lnTo>
                    <a:pt x="186" y="40"/>
                  </a:lnTo>
                  <a:lnTo>
                    <a:pt x="194" y="40"/>
                  </a:lnTo>
                  <a:lnTo>
                    <a:pt x="204" y="34"/>
                  </a:lnTo>
                  <a:lnTo>
                    <a:pt x="208" y="38"/>
                  </a:lnTo>
                  <a:lnTo>
                    <a:pt x="208" y="40"/>
                  </a:lnTo>
                  <a:lnTo>
                    <a:pt x="208" y="44"/>
                  </a:lnTo>
                  <a:lnTo>
                    <a:pt x="208" y="46"/>
                  </a:lnTo>
                  <a:lnTo>
                    <a:pt x="210" y="48"/>
                  </a:lnTo>
                  <a:lnTo>
                    <a:pt x="208" y="50"/>
                  </a:lnTo>
                  <a:lnTo>
                    <a:pt x="208" y="52"/>
                  </a:lnTo>
                  <a:lnTo>
                    <a:pt x="208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4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0" y="58"/>
                  </a:lnTo>
                  <a:lnTo>
                    <a:pt x="212" y="60"/>
                  </a:lnTo>
                  <a:lnTo>
                    <a:pt x="210" y="62"/>
                  </a:lnTo>
                  <a:lnTo>
                    <a:pt x="210" y="64"/>
                  </a:lnTo>
                  <a:lnTo>
                    <a:pt x="214" y="64"/>
                  </a:lnTo>
                  <a:lnTo>
                    <a:pt x="214" y="66"/>
                  </a:lnTo>
                  <a:lnTo>
                    <a:pt x="216" y="68"/>
                  </a:lnTo>
                  <a:lnTo>
                    <a:pt x="218" y="68"/>
                  </a:lnTo>
                  <a:lnTo>
                    <a:pt x="220" y="68"/>
                  </a:lnTo>
                  <a:lnTo>
                    <a:pt x="222" y="70"/>
                  </a:lnTo>
                  <a:lnTo>
                    <a:pt x="224" y="70"/>
                  </a:lnTo>
                  <a:lnTo>
                    <a:pt x="226" y="70"/>
                  </a:lnTo>
                  <a:lnTo>
                    <a:pt x="226" y="72"/>
                  </a:lnTo>
                  <a:lnTo>
                    <a:pt x="226" y="74"/>
                  </a:lnTo>
                  <a:lnTo>
                    <a:pt x="224" y="74"/>
                  </a:lnTo>
                  <a:lnTo>
                    <a:pt x="222" y="74"/>
                  </a:lnTo>
                  <a:lnTo>
                    <a:pt x="220" y="74"/>
                  </a:lnTo>
                  <a:lnTo>
                    <a:pt x="218" y="72"/>
                  </a:lnTo>
                  <a:lnTo>
                    <a:pt x="216" y="72"/>
                  </a:lnTo>
                  <a:lnTo>
                    <a:pt x="218" y="74"/>
                  </a:lnTo>
                  <a:lnTo>
                    <a:pt x="216" y="76"/>
                  </a:lnTo>
                  <a:lnTo>
                    <a:pt x="214" y="76"/>
                  </a:lnTo>
                  <a:lnTo>
                    <a:pt x="214" y="80"/>
                  </a:lnTo>
                  <a:lnTo>
                    <a:pt x="216" y="82"/>
                  </a:lnTo>
                  <a:lnTo>
                    <a:pt x="214" y="84"/>
                  </a:lnTo>
                  <a:lnTo>
                    <a:pt x="214" y="86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2" y="88"/>
                  </a:lnTo>
                  <a:lnTo>
                    <a:pt x="210" y="90"/>
                  </a:lnTo>
                  <a:lnTo>
                    <a:pt x="212" y="92"/>
                  </a:lnTo>
                  <a:lnTo>
                    <a:pt x="210" y="92"/>
                  </a:lnTo>
                  <a:lnTo>
                    <a:pt x="208" y="92"/>
                  </a:lnTo>
                  <a:lnTo>
                    <a:pt x="204" y="92"/>
                  </a:lnTo>
                  <a:lnTo>
                    <a:pt x="202" y="88"/>
                  </a:lnTo>
                  <a:lnTo>
                    <a:pt x="202" y="86"/>
                  </a:lnTo>
                  <a:lnTo>
                    <a:pt x="202" y="84"/>
                  </a:lnTo>
                  <a:lnTo>
                    <a:pt x="200" y="84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4" y="78"/>
                  </a:lnTo>
                  <a:lnTo>
                    <a:pt x="192" y="80"/>
                  </a:lnTo>
                  <a:lnTo>
                    <a:pt x="188" y="78"/>
                  </a:lnTo>
                  <a:lnTo>
                    <a:pt x="184" y="78"/>
                  </a:lnTo>
                  <a:lnTo>
                    <a:pt x="182" y="76"/>
                  </a:lnTo>
                  <a:lnTo>
                    <a:pt x="180" y="78"/>
                  </a:lnTo>
                  <a:lnTo>
                    <a:pt x="178" y="80"/>
                  </a:lnTo>
                  <a:lnTo>
                    <a:pt x="176" y="78"/>
                  </a:lnTo>
                  <a:lnTo>
                    <a:pt x="174" y="76"/>
                  </a:lnTo>
                  <a:lnTo>
                    <a:pt x="172" y="76"/>
                  </a:lnTo>
                  <a:lnTo>
                    <a:pt x="170" y="80"/>
                  </a:lnTo>
                  <a:lnTo>
                    <a:pt x="166" y="80"/>
                  </a:lnTo>
                  <a:lnTo>
                    <a:pt x="164" y="80"/>
                  </a:lnTo>
                  <a:lnTo>
                    <a:pt x="160" y="78"/>
                  </a:lnTo>
                  <a:lnTo>
                    <a:pt x="156" y="78"/>
                  </a:lnTo>
                  <a:lnTo>
                    <a:pt x="154" y="78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4" y="74"/>
                  </a:lnTo>
                  <a:lnTo>
                    <a:pt x="144" y="76"/>
                  </a:lnTo>
                  <a:lnTo>
                    <a:pt x="142" y="76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0"/>
                  </a:lnTo>
                  <a:lnTo>
                    <a:pt x="130" y="70"/>
                  </a:lnTo>
                  <a:lnTo>
                    <a:pt x="128" y="74"/>
                  </a:lnTo>
                  <a:lnTo>
                    <a:pt x="126" y="72"/>
                  </a:lnTo>
                  <a:lnTo>
                    <a:pt x="122" y="72"/>
                  </a:lnTo>
                  <a:lnTo>
                    <a:pt x="118" y="72"/>
                  </a:lnTo>
                  <a:lnTo>
                    <a:pt x="114" y="72"/>
                  </a:lnTo>
                  <a:lnTo>
                    <a:pt x="114" y="74"/>
                  </a:lnTo>
                  <a:lnTo>
                    <a:pt x="110" y="78"/>
                  </a:lnTo>
                  <a:lnTo>
                    <a:pt x="108" y="84"/>
                  </a:lnTo>
                  <a:lnTo>
                    <a:pt x="106" y="82"/>
                  </a:lnTo>
                  <a:lnTo>
                    <a:pt x="100" y="80"/>
                  </a:lnTo>
                  <a:lnTo>
                    <a:pt x="98" y="74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6" y="80"/>
                  </a:lnTo>
                  <a:lnTo>
                    <a:pt x="88" y="84"/>
                  </a:lnTo>
                  <a:lnTo>
                    <a:pt x="88" y="86"/>
                  </a:lnTo>
                  <a:lnTo>
                    <a:pt x="88" y="92"/>
                  </a:lnTo>
                  <a:lnTo>
                    <a:pt x="86" y="92"/>
                  </a:lnTo>
                  <a:lnTo>
                    <a:pt x="86" y="94"/>
                  </a:lnTo>
                  <a:lnTo>
                    <a:pt x="88" y="96"/>
                  </a:lnTo>
                  <a:lnTo>
                    <a:pt x="90" y="98"/>
                  </a:lnTo>
                  <a:lnTo>
                    <a:pt x="92" y="100"/>
                  </a:lnTo>
                  <a:lnTo>
                    <a:pt x="94" y="100"/>
                  </a:lnTo>
                  <a:lnTo>
                    <a:pt x="96" y="106"/>
                  </a:lnTo>
                  <a:lnTo>
                    <a:pt x="100" y="110"/>
                  </a:lnTo>
                  <a:lnTo>
                    <a:pt x="102" y="114"/>
                  </a:lnTo>
                  <a:lnTo>
                    <a:pt x="102" y="118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2" y="124"/>
                  </a:lnTo>
                  <a:lnTo>
                    <a:pt x="102" y="126"/>
                  </a:lnTo>
                  <a:lnTo>
                    <a:pt x="106" y="126"/>
                  </a:lnTo>
                  <a:lnTo>
                    <a:pt x="108" y="130"/>
                  </a:lnTo>
                  <a:lnTo>
                    <a:pt x="108" y="132"/>
                  </a:lnTo>
                  <a:lnTo>
                    <a:pt x="110" y="134"/>
                  </a:lnTo>
                  <a:lnTo>
                    <a:pt x="114" y="136"/>
                  </a:lnTo>
                  <a:lnTo>
                    <a:pt x="116" y="136"/>
                  </a:lnTo>
                  <a:lnTo>
                    <a:pt x="122" y="146"/>
                  </a:lnTo>
                  <a:lnTo>
                    <a:pt x="122" y="150"/>
                  </a:lnTo>
                  <a:lnTo>
                    <a:pt x="124" y="150"/>
                  </a:lnTo>
                  <a:lnTo>
                    <a:pt x="128" y="152"/>
                  </a:lnTo>
                  <a:lnTo>
                    <a:pt x="134" y="160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70"/>
                  </a:lnTo>
                  <a:lnTo>
                    <a:pt x="146" y="176"/>
                  </a:lnTo>
                  <a:lnTo>
                    <a:pt x="148" y="178"/>
                  </a:lnTo>
                  <a:lnTo>
                    <a:pt x="152" y="182"/>
                  </a:lnTo>
                  <a:lnTo>
                    <a:pt x="154" y="184"/>
                  </a:lnTo>
                  <a:lnTo>
                    <a:pt x="158" y="188"/>
                  </a:lnTo>
                  <a:lnTo>
                    <a:pt x="160" y="192"/>
                  </a:lnTo>
                  <a:lnTo>
                    <a:pt x="154" y="194"/>
                  </a:lnTo>
                  <a:close/>
                  <a:moveTo>
                    <a:pt x="158" y="198"/>
                  </a:moveTo>
                  <a:lnTo>
                    <a:pt x="162" y="194"/>
                  </a:lnTo>
                  <a:lnTo>
                    <a:pt x="166" y="196"/>
                  </a:lnTo>
                  <a:lnTo>
                    <a:pt x="166" y="198"/>
                  </a:lnTo>
                  <a:lnTo>
                    <a:pt x="168" y="200"/>
                  </a:lnTo>
                  <a:lnTo>
                    <a:pt x="170" y="202"/>
                  </a:lnTo>
                  <a:lnTo>
                    <a:pt x="174" y="204"/>
                  </a:lnTo>
                  <a:lnTo>
                    <a:pt x="176" y="204"/>
                  </a:lnTo>
                  <a:lnTo>
                    <a:pt x="182" y="210"/>
                  </a:lnTo>
                  <a:lnTo>
                    <a:pt x="182" y="212"/>
                  </a:lnTo>
                  <a:lnTo>
                    <a:pt x="186" y="210"/>
                  </a:lnTo>
                  <a:lnTo>
                    <a:pt x="186" y="212"/>
                  </a:lnTo>
                  <a:lnTo>
                    <a:pt x="188" y="212"/>
                  </a:lnTo>
                  <a:lnTo>
                    <a:pt x="190" y="214"/>
                  </a:lnTo>
                  <a:lnTo>
                    <a:pt x="190" y="216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2"/>
                  </a:lnTo>
                  <a:lnTo>
                    <a:pt x="192" y="224"/>
                  </a:lnTo>
                  <a:lnTo>
                    <a:pt x="182" y="214"/>
                  </a:lnTo>
                  <a:lnTo>
                    <a:pt x="172" y="206"/>
                  </a:lnTo>
                  <a:lnTo>
                    <a:pt x="158" y="19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31">
              <a:extLst>
                <a:ext uri="{FF2B5EF4-FFF2-40B4-BE49-F238E27FC236}">
                  <a16:creationId xmlns:a16="http://schemas.microsoft.com/office/drawing/2014/main" id="{E7509142-059C-4E7C-BA9A-1E8E97AD05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2738" y="4976813"/>
              <a:ext cx="246062" cy="223837"/>
            </a:xfrm>
            <a:custGeom>
              <a:avLst/>
              <a:gdLst>
                <a:gd name="T0" fmla="*/ 257 w 148"/>
                <a:gd name="T1" fmla="*/ 325 h 144"/>
                <a:gd name="T2" fmla="*/ 257 w 148"/>
                <a:gd name="T3" fmla="*/ 297 h 144"/>
                <a:gd name="T4" fmla="*/ 229 w 148"/>
                <a:gd name="T5" fmla="*/ 277 h 144"/>
                <a:gd name="T6" fmla="*/ 214 w 148"/>
                <a:gd name="T7" fmla="*/ 252 h 144"/>
                <a:gd name="T8" fmla="*/ 157 w 148"/>
                <a:gd name="T9" fmla="*/ 215 h 144"/>
                <a:gd name="T10" fmla="*/ 137 w 148"/>
                <a:gd name="T11" fmla="*/ 197 h 144"/>
                <a:gd name="T12" fmla="*/ 89 w 148"/>
                <a:gd name="T13" fmla="*/ 167 h 144"/>
                <a:gd name="T14" fmla="*/ 76 w 148"/>
                <a:gd name="T15" fmla="*/ 146 h 144"/>
                <a:gd name="T16" fmla="*/ 61 w 148"/>
                <a:gd name="T17" fmla="*/ 130 h 144"/>
                <a:gd name="T18" fmla="*/ 61 w 148"/>
                <a:gd name="T19" fmla="*/ 117 h 144"/>
                <a:gd name="T20" fmla="*/ 30 w 148"/>
                <a:gd name="T21" fmla="*/ 77 h 144"/>
                <a:gd name="T22" fmla="*/ 9 w 148"/>
                <a:gd name="T23" fmla="*/ 68 h 144"/>
                <a:gd name="T24" fmla="*/ 9 w 148"/>
                <a:gd name="T25" fmla="*/ 58 h 144"/>
                <a:gd name="T26" fmla="*/ 0 w 148"/>
                <a:gd name="T27" fmla="*/ 26 h 144"/>
                <a:gd name="T28" fmla="*/ 14 w 148"/>
                <a:gd name="T29" fmla="*/ 2 h 144"/>
                <a:gd name="T30" fmla="*/ 50 w 148"/>
                <a:gd name="T31" fmla="*/ 26 h 144"/>
                <a:gd name="T32" fmla="*/ 89 w 148"/>
                <a:gd name="T33" fmla="*/ 21 h 144"/>
                <a:gd name="T34" fmla="*/ 120 w 148"/>
                <a:gd name="T35" fmla="*/ 2 h 144"/>
                <a:gd name="T36" fmla="*/ 157 w 148"/>
                <a:gd name="T37" fmla="*/ 11 h 144"/>
                <a:gd name="T38" fmla="*/ 183 w 148"/>
                <a:gd name="T39" fmla="*/ 2 h 144"/>
                <a:gd name="T40" fmla="*/ 214 w 148"/>
                <a:gd name="T41" fmla="*/ 15 h 144"/>
                <a:gd name="T42" fmla="*/ 234 w 148"/>
                <a:gd name="T43" fmla="*/ 15 h 144"/>
                <a:gd name="T44" fmla="*/ 267 w 148"/>
                <a:gd name="T45" fmla="*/ 21 h 144"/>
                <a:gd name="T46" fmla="*/ 305 w 148"/>
                <a:gd name="T47" fmla="*/ 26 h 144"/>
                <a:gd name="T48" fmla="*/ 334 w 148"/>
                <a:gd name="T49" fmla="*/ 15 h 144"/>
                <a:gd name="T50" fmla="*/ 358 w 148"/>
                <a:gd name="T51" fmla="*/ 21 h 144"/>
                <a:gd name="T52" fmla="*/ 389 w 148"/>
                <a:gd name="T53" fmla="*/ 21 h 144"/>
                <a:gd name="T54" fmla="*/ 401 w 148"/>
                <a:gd name="T55" fmla="*/ 26 h 144"/>
                <a:gd name="T56" fmla="*/ 432 w 148"/>
                <a:gd name="T57" fmla="*/ 26 h 144"/>
                <a:gd name="T58" fmla="*/ 441 w 148"/>
                <a:gd name="T59" fmla="*/ 42 h 144"/>
                <a:gd name="T60" fmla="*/ 462 w 148"/>
                <a:gd name="T61" fmla="*/ 58 h 144"/>
                <a:gd name="T62" fmla="*/ 499 w 148"/>
                <a:gd name="T63" fmla="*/ 47 h 144"/>
                <a:gd name="T64" fmla="*/ 527 w 148"/>
                <a:gd name="T65" fmla="*/ 53 h 144"/>
                <a:gd name="T66" fmla="*/ 517 w 148"/>
                <a:gd name="T67" fmla="*/ 74 h 144"/>
                <a:gd name="T68" fmla="*/ 499 w 148"/>
                <a:gd name="T69" fmla="*/ 101 h 144"/>
                <a:gd name="T70" fmla="*/ 499 w 148"/>
                <a:gd name="T71" fmla="*/ 117 h 144"/>
                <a:gd name="T72" fmla="*/ 499 w 148"/>
                <a:gd name="T73" fmla="*/ 137 h 144"/>
                <a:gd name="T74" fmla="*/ 527 w 148"/>
                <a:gd name="T75" fmla="*/ 146 h 144"/>
                <a:gd name="T76" fmla="*/ 549 w 148"/>
                <a:gd name="T77" fmla="*/ 164 h 144"/>
                <a:gd name="T78" fmla="*/ 564 w 148"/>
                <a:gd name="T79" fmla="*/ 171 h 144"/>
                <a:gd name="T80" fmla="*/ 549 w 148"/>
                <a:gd name="T81" fmla="*/ 183 h 144"/>
                <a:gd name="T82" fmla="*/ 517 w 148"/>
                <a:gd name="T83" fmla="*/ 177 h 144"/>
                <a:gd name="T84" fmla="*/ 527 w 148"/>
                <a:gd name="T85" fmla="*/ 194 h 144"/>
                <a:gd name="T86" fmla="*/ 549 w 148"/>
                <a:gd name="T87" fmla="*/ 225 h 144"/>
                <a:gd name="T88" fmla="*/ 540 w 148"/>
                <a:gd name="T89" fmla="*/ 236 h 144"/>
                <a:gd name="T90" fmla="*/ 527 w 148"/>
                <a:gd name="T91" fmla="*/ 230 h 144"/>
                <a:gd name="T92" fmla="*/ 501 w 148"/>
                <a:gd name="T93" fmla="*/ 241 h 144"/>
                <a:gd name="T94" fmla="*/ 477 w 148"/>
                <a:gd name="T95" fmla="*/ 241 h 144"/>
                <a:gd name="T96" fmla="*/ 471 w 148"/>
                <a:gd name="T97" fmla="*/ 252 h 144"/>
                <a:gd name="T98" fmla="*/ 487 w 148"/>
                <a:gd name="T99" fmla="*/ 271 h 144"/>
                <a:gd name="T100" fmla="*/ 471 w 148"/>
                <a:gd name="T101" fmla="*/ 277 h 144"/>
                <a:gd name="T102" fmla="*/ 456 w 148"/>
                <a:gd name="T103" fmla="*/ 268 h 144"/>
                <a:gd name="T104" fmla="*/ 432 w 148"/>
                <a:gd name="T105" fmla="*/ 283 h 144"/>
                <a:gd name="T106" fmla="*/ 429 w 148"/>
                <a:gd name="T107" fmla="*/ 297 h 144"/>
                <a:gd name="T108" fmla="*/ 412 w 148"/>
                <a:gd name="T109" fmla="*/ 307 h 144"/>
                <a:gd name="T110" fmla="*/ 399 w 148"/>
                <a:gd name="T111" fmla="*/ 325 h 144"/>
                <a:gd name="T112" fmla="*/ 401 w 148"/>
                <a:gd name="T113" fmla="*/ 346 h 144"/>
                <a:gd name="T114" fmla="*/ 412 w 148"/>
                <a:gd name="T115" fmla="*/ 360 h 144"/>
                <a:gd name="T116" fmla="*/ 389 w 148"/>
                <a:gd name="T117" fmla="*/ 372 h 144"/>
                <a:gd name="T118" fmla="*/ 365 w 148"/>
                <a:gd name="T119" fmla="*/ 372 h 144"/>
                <a:gd name="T120" fmla="*/ 334 w 148"/>
                <a:gd name="T121" fmla="*/ 349 h 144"/>
                <a:gd name="T122" fmla="*/ 305 w 148"/>
                <a:gd name="T123" fmla="*/ 334 h 144"/>
                <a:gd name="T124" fmla="*/ 290 w 148"/>
                <a:gd name="T125" fmla="*/ 325 h 1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48"/>
                <a:gd name="T190" fmla="*/ 0 h 144"/>
                <a:gd name="T191" fmla="*/ 148 w 148"/>
                <a:gd name="T192" fmla="*/ 144 h 1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48" h="144">
                  <a:moveTo>
                    <a:pt x="72" y="128"/>
                  </a:moveTo>
                  <a:lnTo>
                    <a:pt x="70" y="126"/>
                  </a:lnTo>
                  <a:lnTo>
                    <a:pt x="68" y="124"/>
                  </a:lnTo>
                  <a:lnTo>
                    <a:pt x="74" y="122"/>
                  </a:lnTo>
                  <a:lnTo>
                    <a:pt x="72" y="118"/>
                  </a:lnTo>
                  <a:lnTo>
                    <a:pt x="68" y="114"/>
                  </a:lnTo>
                  <a:lnTo>
                    <a:pt x="66" y="112"/>
                  </a:lnTo>
                  <a:lnTo>
                    <a:pt x="62" y="108"/>
                  </a:lnTo>
                  <a:lnTo>
                    <a:pt x="60" y="106"/>
                  </a:lnTo>
                  <a:lnTo>
                    <a:pt x="58" y="100"/>
                  </a:lnTo>
                  <a:lnTo>
                    <a:pt x="58" y="96"/>
                  </a:lnTo>
                  <a:lnTo>
                    <a:pt x="56" y="96"/>
                  </a:lnTo>
                  <a:lnTo>
                    <a:pt x="52" y="94"/>
                  </a:lnTo>
                  <a:lnTo>
                    <a:pt x="48" y="90"/>
                  </a:lnTo>
                  <a:lnTo>
                    <a:pt x="42" y="82"/>
                  </a:lnTo>
                  <a:lnTo>
                    <a:pt x="38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0" y="66"/>
                  </a:lnTo>
                  <a:lnTo>
                    <a:pt x="28" y="66"/>
                  </a:lnTo>
                  <a:lnTo>
                    <a:pt x="24" y="64"/>
                  </a:lnTo>
                  <a:lnTo>
                    <a:pt x="22" y="62"/>
                  </a:lnTo>
                  <a:lnTo>
                    <a:pt x="22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4" y="40"/>
                  </a:lnTo>
                  <a:lnTo>
                    <a:pt x="10" y="36"/>
                  </a:lnTo>
                  <a:lnTo>
                    <a:pt x="8" y="30"/>
                  </a:lnTo>
                  <a:lnTo>
                    <a:pt x="6" y="30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4" y="10"/>
                  </a:lnTo>
                  <a:lnTo>
                    <a:pt x="20" y="12"/>
                  </a:lnTo>
                  <a:lnTo>
                    <a:pt x="22" y="14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4" y="10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0" y="8"/>
                  </a:lnTo>
                  <a:lnTo>
                    <a:pt x="92" y="10"/>
                  </a:lnTo>
                  <a:lnTo>
                    <a:pt x="94" y="8"/>
                  </a:lnTo>
                  <a:lnTo>
                    <a:pt x="96" y="6"/>
                  </a:lnTo>
                  <a:lnTo>
                    <a:pt x="98" y="8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8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4"/>
                  </a:lnTo>
                  <a:lnTo>
                    <a:pt x="116" y="14"/>
                  </a:lnTo>
                  <a:lnTo>
                    <a:pt x="116" y="16"/>
                  </a:lnTo>
                  <a:lnTo>
                    <a:pt x="116" y="18"/>
                  </a:lnTo>
                  <a:lnTo>
                    <a:pt x="118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6" y="22"/>
                  </a:lnTo>
                  <a:lnTo>
                    <a:pt x="130" y="18"/>
                  </a:lnTo>
                  <a:lnTo>
                    <a:pt x="132" y="18"/>
                  </a:lnTo>
                  <a:lnTo>
                    <a:pt x="136" y="18"/>
                  </a:lnTo>
                  <a:lnTo>
                    <a:pt x="138" y="20"/>
                  </a:lnTo>
                  <a:lnTo>
                    <a:pt x="138" y="24"/>
                  </a:lnTo>
                  <a:lnTo>
                    <a:pt x="136" y="28"/>
                  </a:lnTo>
                  <a:lnTo>
                    <a:pt x="134" y="32"/>
                  </a:lnTo>
                  <a:lnTo>
                    <a:pt x="132" y="36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30" y="42"/>
                  </a:lnTo>
                  <a:lnTo>
                    <a:pt x="130" y="44"/>
                  </a:lnTo>
                  <a:lnTo>
                    <a:pt x="128" y="46"/>
                  </a:lnTo>
                  <a:lnTo>
                    <a:pt x="128" y="50"/>
                  </a:lnTo>
                  <a:lnTo>
                    <a:pt x="130" y="52"/>
                  </a:lnTo>
                  <a:lnTo>
                    <a:pt x="134" y="54"/>
                  </a:lnTo>
                  <a:lnTo>
                    <a:pt x="136" y="52"/>
                  </a:lnTo>
                  <a:lnTo>
                    <a:pt x="138" y="56"/>
                  </a:lnTo>
                  <a:lnTo>
                    <a:pt x="138" y="58"/>
                  </a:lnTo>
                  <a:lnTo>
                    <a:pt x="140" y="60"/>
                  </a:lnTo>
                  <a:lnTo>
                    <a:pt x="144" y="62"/>
                  </a:lnTo>
                  <a:lnTo>
                    <a:pt x="144" y="64"/>
                  </a:lnTo>
                  <a:lnTo>
                    <a:pt x="148" y="64"/>
                  </a:lnTo>
                  <a:lnTo>
                    <a:pt x="148" y="66"/>
                  </a:lnTo>
                  <a:lnTo>
                    <a:pt x="148" y="68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0" y="70"/>
                  </a:lnTo>
                  <a:lnTo>
                    <a:pt x="136" y="68"/>
                  </a:lnTo>
                  <a:lnTo>
                    <a:pt x="134" y="68"/>
                  </a:lnTo>
                  <a:lnTo>
                    <a:pt x="136" y="70"/>
                  </a:lnTo>
                  <a:lnTo>
                    <a:pt x="138" y="74"/>
                  </a:lnTo>
                  <a:lnTo>
                    <a:pt x="142" y="78"/>
                  </a:lnTo>
                  <a:lnTo>
                    <a:pt x="144" y="82"/>
                  </a:lnTo>
                  <a:lnTo>
                    <a:pt x="144" y="86"/>
                  </a:lnTo>
                  <a:lnTo>
                    <a:pt x="144" y="90"/>
                  </a:lnTo>
                  <a:lnTo>
                    <a:pt x="142" y="90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6" y="90"/>
                  </a:lnTo>
                  <a:lnTo>
                    <a:pt x="134" y="94"/>
                  </a:lnTo>
                  <a:lnTo>
                    <a:pt x="132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6" y="92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4" y="98"/>
                  </a:lnTo>
                  <a:lnTo>
                    <a:pt x="126" y="102"/>
                  </a:lnTo>
                  <a:lnTo>
                    <a:pt x="128" y="104"/>
                  </a:lnTo>
                  <a:lnTo>
                    <a:pt x="126" y="108"/>
                  </a:lnTo>
                  <a:lnTo>
                    <a:pt x="124" y="108"/>
                  </a:lnTo>
                  <a:lnTo>
                    <a:pt x="124" y="106"/>
                  </a:lnTo>
                  <a:lnTo>
                    <a:pt x="122" y="104"/>
                  </a:lnTo>
                  <a:lnTo>
                    <a:pt x="122" y="102"/>
                  </a:lnTo>
                  <a:lnTo>
                    <a:pt x="120" y="102"/>
                  </a:lnTo>
                  <a:lnTo>
                    <a:pt x="118" y="104"/>
                  </a:lnTo>
                  <a:lnTo>
                    <a:pt x="114" y="106"/>
                  </a:lnTo>
                  <a:lnTo>
                    <a:pt x="114" y="108"/>
                  </a:lnTo>
                  <a:lnTo>
                    <a:pt x="112" y="110"/>
                  </a:lnTo>
                  <a:lnTo>
                    <a:pt x="112" y="112"/>
                  </a:lnTo>
                  <a:lnTo>
                    <a:pt x="112" y="114"/>
                  </a:lnTo>
                  <a:lnTo>
                    <a:pt x="112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4" y="122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30"/>
                  </a:lnTo>
                  <a:lnTo>
                    <a:pt x="106" y="132"/>
                  </a:lnTo>
                  <a:lnTo>
                    <a:pt x="106" y="134"/>
                  </a:lnTo>
                  <a:lnTo>
                    <a:pt x="108" y="136"/>
                  </a:lnTo>
                  <a:lnTo>
                    <a:pt x="108" y="138"/>
                  </a:lnTo>
                  <a:lnTo>
                    <a:pt x="106" y="140"/>
                  </a:lnTo>
                  <a:lnTo>
                    <a:pt x="104" y="144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0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80" y="128"/>
                  </a:lnTo>
                  <a:lnTo>
                    <a:pt x="80" y="126"/>
                  </a:lnTo>
                  <a:lnTo>
                    <a:pt x="76" y="124"/>
                  </a:lnTo>
                  <a:lnTo>
                    <a:pt x="72" y="12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32">
              <a:extLst>
                <a:ext uri="{FF2B5EF4-FFF2-40B4-BE49-F238E27FC236}">
                  <a16:creationId xmlns:a16="http://schemas.microsoft.com/office/drawing/2014/main" id="{E8763C22-B455-45BE-B591-F2558F22CF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9138" y="4329113"/>
              <a:ext cx="1146175" cy="711200"/>
            </a:xfrm>
            <a:custGeom>
              <a:avLst/>
              <a:gdLst>
                <a:gd name="T0" fmla="*/ 322 w 692"/>
                <a:gd name="T1" fmla="*/ 110 h 458"/>
                <a:gd name="T2" fmla="*/ 499 w 692"/>
                <a:gd name="T3" fmla="*/ 78 h 458"/>
                <a:gd name="T4" fmla="*/ 716 w 692"/>
                <a:gd name="T5" fmla="*/ 110 h 458"/>
                <a:gd name="T6" fmla="*/ 821 w 692"/>
                <a:gd name="T7" fmla="*/ 132 h 458"/>
                <a:gd name="T8" fmla="*/ 890 w 692"/>
                <a:gd name="T9" fmla="*/ 127 h 458"/>
                <a:gd name="T10" fmla="*/ 982 w 692"/>
                <a:gd name="T11" fmla="*/ 149 h 458"/>
                <a:gd name="T12" fmla="*/ 1060 w 692"/>
                <a:gd name="T13" fmla="*/ 167 h 458"/>
                <a:gd name="T14" fmla="*/ 1183 w 692"/>
                <a:gd name="T15" fmla="*/ 152 h 458"/>
                <a:gd name="T16" fmla="*/ 1229 w 692"/>
                <a:gd name="T17" fmla="*/ 141 h 458"/>
                <a:gd name="T18" fmla="*/ 1328 w 692"/>
                <a:gd name="T19" fmla="*/ 58 h 458"/>
                <a:gd name="T20" fmla="*/ 1513 w 692"/>
                <a:gd name="T21" fmla="*/ 21 h 458"/>
                <a:gd name="T22" fmla="*/ 1755 w 692"/>
                <a:gd name="T23" fmla="*/ 31 h 458"/>
                <a:gd name="T24" fmla="*/ 1775 w 692"/>
                <a:gd name="T25" fmla="*/ 141 h 458"/>
                <a:gd name="T26" fmla="*/ 1942 w 692"/>
                <a:gd name="T27" fmla="*/ 215 h 458"/>
                <a:gd name="T28" fmla="*/ 2012 w 692"/>
                <a:gd name="T29" fmla="*/ 318 h 458"/>
                <a:gd name="T30" fmla="*/ 2184 w 692"/>
                <a:gd name="T31" fmla="*/ 335 h 458"/>
                <a:gd name="T32" fmla="*/ 2294 w 692"/>
                <a:gd name="T33" fmla="*/ 379 h 458"/>
                <a:gd name="T34" fmla="*/ 2432 w 692"/>
                <a:gd name="T35" fmla="*/ 401 h 458"/>
                <a:gd name="T36" fmla="*/ 2603 w 692"/>
                <a:gd name="T37" fmla="*/ 457 h 458"/>
                <a:gd name="T38" fmla="*/ 2659 w 692"/>
                <a:gd name="T39" fmla="*/ 495 h 458"/>
                <a:gd name="T40" fmla="*/ 2634 w 692"/>
                <a:gd name="T41" fmla="*/ 563 h 458"/>
                <a:gd name="T42" fmla="*/ 2612 w 692"/>
                <a:gd name="T43" fmla="*/ 619 h 458"/>
                <a:gd name="T44" fmla="*/ 2527 w 692"/>
                <a:gd name="T45" fmla="*/ 708 h 458"/>
                <a:gd name="T46" fmla="*/ 2371 w 692"/>
                <a:gd name="T47" fmla="*/ 787 h 458"/>
                <a:gd name="T48" fmla="*/ 2097 w 692"/>
                <a:gd name="T49" fmla="*/ 875 h 458"/>
                <a:gd name="T50" fmla="*/ 1831 w 692"/>
                <a:gd name="T51" fmla="*/ 949 h 458"/>
                <a:gd name="T52" fmla="*/ 1951 w 692"/>
                <a:gd name="T53" fmla="*/ 1088 h 458"/>
                <a:gd name="T54" fmla="*/ 2050 w 692"/>
                <a:gd name="T55" fmla="*/ 1130 h 458"/>
                <a:gd name="T56" fmla="*/ 1755 w 692"/>
                <a:gd name="T57" fmla="*/ 1203 h 458"/>
                <a:gd name="T58" fmla="*/ 1552 w 692"/>
                <a:gd name="T59" fmla="*/ 1077 h 458"/>
                <a:gd name="T60" fmla="*/ 1651 w 692"/>
                <a:gd name="T61" fmla="*/ 966 h 458"/>
                <a:gd name="T62" fmla="*/ 1432 w 692"/>
                <a:gd name="T63" fmla="*/ 887 h 458"/>
                <a:gd name="T64" fmla="*/ 1090 w 692"/>
                <a:gd name="T65" fmla="*/ 1056 h 458"/>
                <a:gd name="T66" fmla="*/ 915 w 692"/>
                <a:gd name="T67" fmla="*/ 1083 h 458"/>
                <a:gd name="T68" fmla="*/ 945 w 692"/>
                <a:gd name="T69" fmla="*/ 1056 h 458"/>
                <a:gd name="T70" fmla="*/ 966 w 692"/>
                <a:gd name="T71" fmla="*/ 1021 h 458"/>
                <a:gd name="T72" fmla="*/ 1005 w 692"/>
                <a:gd name="T73" fmla="*/ 977 h 458"/>
                <a:gd name="T74" fmla="*/ 1014 w 692"/>
                <a:gd name="T75" fmla="*/ 919 h 458"/>
                <a:gd name="T76" fmla="*/ 1052 w 692"/>
                <a:gd name="T77" fmla="*/ 930 h 458"/>
                <a:gd name="T78" fmla="*/ 1090 w 692"/>
                <a:gd name="T79" fmla="*/ 930 h 458"/>
                <a:gd name="T80" fmla="*/ 1131 w 692"/>
                <a:gd name="T81" fmla="*/ 941 h 458"/>
                <a:gd name="T82" fmla="*/ 1169 w 692"/>
                <a:gd name="T83" fmla="*/ 930 h 458"/>
                <a:gd name="T84" fmla="*/ 1151 w 692"/>
                <a:gd name="T85" fmla="*/ 883 h 458"/>
                <a:gd name="T86" fmla="*/ 1100 w 692"/>
                <a:gd name="T87" fmla="*/ 842 h 458"/>
                <a:gd name="T88" fmla="*/ 1100 w 692"/>
                <a:gd name="T89" fmla="*/ 798 h 458"/>
                <a:gd name="T90" fmla="*/ 1036 w 692"/>
                <a:gd name="T91" fmla="*/ 779 h 458"/>
                <a:gd name="T92" fmla="*/ 1052 w 692"/>
                <a:gd name="T93" fmla="*/ 717 h 458"/>
                <a:gd name="T94" fmla="*/ 991 w 692"/>
                <a:gd name="T95" fmla="*/ 688 h 458"/>
                <a:gd name="T96" fmla="*/ 920 w 692"/>
                <a:gd name="T97" fmla="*/ 674 h 458"/>
                <a:gd name="T98" fmla="*/ 884 w 692"/>
                <a:gd name="T99" fmla="*/ 663 h 458"/>
                <a:gd name="T100" fmla="*/ 821 w 692"/>
                <a:gd name="T101" fmla="*/ 625 h 458"/>
                <a:gd name="T102" fmla="*/ 761 w 692"/>
                <a:gd name="T103" fmla="*/ 631 h 458"/>
                <a:gd name="T104" fmla="*/ 685 w 692"/>
                <a:gd name="T105" fmla="*/ 646 h 458"/>
                <a:gd name="T106" fmla="*/ 444 w 692"/>
                <a:gd name="T107" fmla="*/ 720 h 458"/>
                <a:gd name="T108" fmla="*/ 217 w 692"/>
                <a:gd name="T109" fmla="*/ 688 h 458"/>
                <a:gd name="T110" fmla="*/ 70 w 692"/>
                <a:gd name="T111" fmla="*/ 530 h 458"/>
                <a:gd name="T112" fmla="*/ 275 w 692"/>
                <a:gd name="T113" fmla="*/ 316 h 458"/>
                <a:gd name="T114" fmla="*/ 232 w 692"/>
                <a:gd name="T115" fmla="*/ 152 h 45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458"/>
                <a:gd name="T176" fmla="*/ 692 w 692"/>
                <a:gd name="T177" fmla="*/ 458 h 45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458">
                  <a:moveTo>
                    <a:pt x="56" y="52"/>
                  </a:moveTo>
                  <a:lnTo>
                    <a:pt x="56" y="52"/>
                  </a:lnTo>
                  <a:lnTo>
                    <a:pt x="5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0" y="52"/>
                  </a:lnTo>
                  <a:lnTo>
                    <a:pt x="76" y="46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88" y="32"/>
                  </a:lnTo>
                  <a:lnTo>
                    <a:pt x="96" y="30"/>
                  </a:lnTo>
                  <a:lnTo>
                    <a:pt x="104" y="32"/>
                  </a:lnTo>
                  <a:lnTo>
                    <a:pt x="110" y="30"/>
                  </a:lnTo>
                  <a:lnTo>
                    <a:pt x="116" y="28"/>
                  </a:lnTo>
                  <a:lnTo>
                    <a:pt x="122" y="30"/>
                  </a:lnTo>
                  <a:lnTo>
                    <a:pt x="130" y="30"/>
                  </a:lnTo>
                  <a:lnTo>
                    <a:pt x="138" y="28"/>
                  </a:lnTo>
                  <a:lnTo>
                    <a:pt x="148" y="30"/>
                  </a:lnTo>
                  <a:lnTo>
                    <a:pt x="152" y="30"/>
                  </a:lnTo>
                  <a:lnTo>
                    <a:pt x="156" y="34"/>
                  </a:lnTo>
                  <a:lnTo>
                    <a:pt x="166" y="34"/>
                  </a:lnTo>
                  <a:lnTo>
                    <a:pt x="166" y="36"/>
                  </a:lnTo>
                  <a:lnTo>
                    <a:pt x="176" y="38"/>
                  </a:lnTo>
                  <a:lnTo>
                    <a:pt x="186" y="42"/>
                  </a:lnTo>
                  <a:lnTo>
                    <a:pt x="190" y="40"/>
                  </a:lnTo>
                  <a:lnTo>
                    <a:pt x="194" y="40"/>
                  </a:lnTo>
                  <a:lnTo>
                    <a:pt x="194" y="46"/>
                  </a:lnTo>
                  <a:lnTo>
                    <a:pt x="198" y="46"/>
                  </a:lnTo>
                  <a:lnTo>
                    <a:pt x="198" y="50"/>
                  </a:lnTo>
                  <a:lnTo>
                    <a:pt x="206" y="48"/>
                  </a:lnTo>
                  <a:lnTo>
                    <a:pt x="210" y="48"/>
                  </a:lnTo>
                  <a:lnTo>
                    <a:pt x="214" y="50"/>
                  </a:lnTo>
                  <a:lnTo>
                    <a:pt x="214" y="56"/>
                  </a:lnTo>
                  <a:lnTo>
                    <a:pt x="214" y="58"/>
                  </a:lnTo>
                  <a:lnTo>
                    <a:pt x="218" y="56"/>
                  </a:lnTo>
                  <a:lnTo>
                    <a:pt x="218" y="50"/>
                  </a:lnTo>
                  <a:lnTo>
                    <a:pt x="220" y="50"/>
                  </a:lnTo>
                  <a:lnTo>
                    <a:pt x="224" y="52"/>
                  </a:lnTo>
                  <a:lnTo>
                    <a:pt x="230" y="52"/>
                  </a:lnTo>
                  <a:lnTo>
                    <a:pt x="232" y="48"/>
                  </a:lnTo>
                  <a:lnTo>
                    <a:pt x="236" y="50"/>
                  </a:lnTo>
                  <a:lnTo>
                    <a:pt x="238" y="56"/>
                  </a:lnTo>
                  <a:lnTo>
                    <a:pt x="242" y="52"/>
                  </a:lnTo>
                  <a:lnTo>
                    <a:pt x="246" y="52"/>
                  </a:lnTo>
                  <a:lnTo>
                    <a:pt x="248" y="54"/>
                  </a:lnTo>
                  <a:lnTo>
                    <a:pt x="250" y="60"/>
                  </a:lnTo>
                  <a:lnTo>
                    <a:pt x="254" y="60"/>
                  </a:lnTo>
                  <a:lnTo>
                    <a:pt x="256" y="56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6" y="50"/>
                  </a:lnTo>
                  <a:lnTo>
                    <a:pt x="268" y="48"/>
                  </a:lnTo>
                  <a:lnTo>
                    <a:pt x="270" y="52"/>
                  </a:lnTo>
                  <a:lnTo>
                    <a:pt x="272" y="56"/>
                  </a:lnTo>
                  <a:lnTo>
                    <a:pt x="274" y="62"/>
                  </a:lnTo>
                  <a:lnTo>
                    <a:pt x="276" y="64"/>
                  </a:lnTo>
                  <a:lnTo>
                    <a:pt x="282" y="62"/>
                  </a:lnTo>
                  <a:lnTo>
                    <a:pt x="286" y="58"/>
                  </a:lnTo>
                  <a:lnTo>
                    <a:pt x="290" y="58"/>
                  </a:lnTo>
                  <a:lnTo>
                    <a:pt x="292" y="60"/>
                  </a:lnTo>
                  <a:lnTo>
                    <a:pt x="296" y="60"/>
                  </a:lnTo>
                  <a:lnTo>
                    <a:pt x="302" y="58"/>
                  </a:lnTo>
                  <a:lnTo>
                    <a:pt x="304" y="58"/>
                  </a:lnTo>
                  <a:lnTo>
                    <a:pt x="308" y="58"/>
                  </a:lnTo>
                  <a:lnTo>
                    <a:pt x="312" y="60"/>
                  </a:lnTo>
                  <a:lnTo>
                    <a:pt x="314" y="62"/>
                  </a:lnTo>
                  <a:lnTo>
                    <a:pt x="316" y="68"/>
                  </a:lnTo>
                  <a:lnTo>
                    <a:pt x="320" y="68"/>
                  </a:lnTo>
                  <a:lnTo>
                    <a:pt x="324" y="70"/>
                  </a:lnTo>
                  <a:lnTo>
                    <a:pt x="326" y="64"/>
                  </a:lnTo>
                  <a:lnTo>
                    <a:pt x="326" y="60"/>
                  </a:lnTo>
                  <a:lnTo>
                    <a:pt x="320" y="54"/>
                  </a:lnTo>
                  <a:lnTo>
                    <a:pt x="322" y="48"/>
                  </a:lnTo>
                  <a:lnTo>
                    <a:pt x="326" y="42"/>
                  </a:lnTo>
                  <a:lnTo>
                    <a:pt x="330" y="34"/>
                  </a:lnTo>
                  <a:lnTo>
                    <a:pt x="336" y="30"/>
                  </a:lnTo>
                  <a:lnTo>
                    <a:pt x="338" y="26"/>
                  </a:lnTo>
                  <a:lnTo>
                    <a:pt x="338" y="22"/>
                  </a:lnTo>
                  <a:lnTo>
                    <a:pt x="344" y="20"/>
                  </a:lnTo>
                  <a:lnTo>
                    <a:pt x="346" y="22"/>
                  </a:lnTo>
                  <a:lnTo>
                    <a:pt x="350" y="22"/>
                  </a:lnTo>
                  <a:lnTo>
                    <a:pt x="352" y="20"/>
                  </a:lnTo>
                  <a:lnTo>
                    <a:pt x="362" y="18"/>
                  </a:lnTo>
                  <a:lnTo>
                    <a:pt x="370" y="18"/>
                  </a:lnTo>
                  <a:lnTo>
                    <a:pt x="376" y="20"/>
                  </a:lnTo>
                  <a:lnTo>
                    <a:pt x="384" y="22"/>
                  </a:lnTo>
                  <a:lnTo>
                    <a:pt x="390" y="16"/>
                  </a:lnTo>
                  <a:lnTo>
                    <a:pt x="394" y="8"/>
                  </a:lnTo>
                  <a:lnTo>
                    <a:pt x="396" y="0"/>
                  </a:lnTo>
                  <a:lnTo>
                    <a:pt x="404" y="8"/>
                  </a:lnTo>
                  <a:lnTo>
                    <a:pt x="414" y="8"/>
                  </a:lnTo>
                  <a:lnTo>
                    <a:pt x="426" y="0"/>
                  </a:lnTo>
                  <a:lnTo>
                    <a:pt x="438" y="4"/>
                  </a:lnTo>
                  <a:lnTo>
                    <a:pt x="446" y="0"/>
                  </a:lnTo>
                  <a:lnTo>
                    <a:pt x="450" y="8"/>
                  </a:lnTo>
                  <a:lnTo>
                    <a:pt x="456" y="12"/>
                  </a:lnTo>
                  <a:lnTo>
                    <a:pt x="460" y="22"/>
                  </a:lnTo>
                  <a:lnTo>
                    <a:pt x="462" y="26"/>
                  </a:lnTo>
                  <a:lnTo>
                    <a:pt x="466" y="32"/>
                  </a:lnTo>
                  <a:lnTo>
                    <a:pt x="472" y="36"/>
                  </a:lnTo>
                  <a:lnTo>
                    <a:pt x="472" y="44"/>
                  </a:lnTo>
                  <a:lnTo>
                    <a:pt x="466" y="42"/>
                  </a:lnTo>
                  <a:lnTo>
                    <a:pt x="460" y="46"/>
                  </a:lnTo>
                  <a:lnTo>
                    <a:pt x="462" y="54"/>
                  </a:lnTo>
                  <a:lnTo>
                    <a:pt x="464" y="64"/>
                  </a:lnTo>
                  <a:lnTo>
                    <a:pt x="470" y="72"/>
                  </a:lnTo>
                  <a:lnTo>
                    <a:pt x="480" y="72"/>
                  </a:lnTo>
                  <a:lnTo>
                    <a:pt x="484" y="76"/>
                  </a:lnTo>
                  <a:lnTo>
                    <a:pt x="492" y="74"/>
                  </a:lnTo>
                  <a:lnTo>
                    <a:pt x="498" y="74"/>
                  </a:lnTo>
                  <a:lnTo>
                    <a:pt x="498" y="82"/>
                  </a:lnTo>
                  <a:lnTo>
                    <a:pt x="506" y="82"/>
                  </a:lnTo>
                  <a:lnTo>
                    <a:pt x="506" y="92"/>
                  </a:lnTo>
                  <a:lnTo>
                    <a:pt x="510" y="100"/>
                  </a:lnTo>
                  <a:lnTo>
                    <a:pt x="512" y="106"/>
                  </a:lnTo>
                  <a:lnTo>
                    <a:pt x="510" y="112"/>
                  </a:lnTo>
                  <a:lnTo>
                    <a:pt x="512" y="118"/>
                  </a:lnTo>
                  <a:lnTo>
                    <a:pt x="514" y="120"/>
                  </a:lnTo>
                  <a:lnTo>
                    <a:pt x="520" y="128"/>
                  </a:lnTo>
                  <a:lnTo>
                    <a:pt x="524" y="122"/>
                  </a:lnTo>
                  <a:lnTo>
                    <a:pt x="532" y="120"/>
                  </a:lnTo>
                  <a:lnTo>
                    <a:pt x="536" y="122"/>
                  </a:lnTo>
                  <a:lnTo>
                    <a:pt x="546" y="130"/>
                  </a:lnTo>
                  <a:lnTo>
                    <a:pt x="548" y="128"/>
                  </a:lnTo>
                  <a:lnTo>
                    <a:pt x="552" y="130"/>
                  </a:lnTo>
                  <a:lnTo>
                    <a:pt x="554" y="134"/>
                  </a:lnTo>
                  <a:lnTo>
                    <a:pt x="562" y="130"/>
                  </a:lnTo>
                  <a:lnTo>
                    <a:pt x="568" y="128"/>
                  </a:lnTo>
                  <a:lnTo>
                    <a:pt x="572" y="128"/>
                  </a:lnTo>
                  <a:lnTo>
                    <a:pt x="582" y="124"/>
                  </a:lnTo>
                  <a:lnTo>
                    <a:pt x="588" y="122"/>
                  </a:lnTo>
                  <a:lnTo>
                    <a:pt x="590" y="126"/>
                  </a:lnTo>
                  <a:lnTo>
                    <a:pt x="594" y="132"/>
                  </a:lnTo>
                  <a:lnTo>
                    <a:pt x="594" y="134"/>
                  </a:lnTo>
                  <a:lnTo>
                    <a:pt x="598" y="140"/>
                  </a:lnTo>
                  <a:lnTo>
                    <a:pt x="598" y="144"/>
                  </a:lnTo>
                  <a:lnTo>
                    <a:pt x="604" y="144"/>
                  </a:lnTo>
                  <a:lnTo>
                    <a:pt x="608" y="150"/>
                  </a:lnTo>
                  <a:lnTo>
                    <a:pt x="612" y="152"/>
                  </a:lnTo>
                  <a:lnTo>
                    <a:pt x="616" y="148"/>
                  </a:lnTo>
                  <a:lnTo>
                    <a:pt x="618" y="144"/>
                  </a:lnTo>
                  <a:lnTo>
                    <a:pt x="622" y="142"/>
                  </a:lnTo>
                  <a:lnTo>
                    <a:pt x="626" y="150"/>
                  </a:lnTo>
                  <a:lnTo>
                    <a:pt x="634" y="152"/>
                  </a:lnTo>
                  <a:lnTo>
                    <a:pt x="642" y="154"/>
                  </a:lnTo>
                  <a:lnTo>
                    <a:pt x="646" y="158"/>
                  </a:lnTo>
                  <a:lnTo>
                    <a:pt x="652" y="156"/>
                  </a:lnTo>
                  <a:lnTo>
                    <a:pt x="656" y="160"/>
                  </a:lnTo>
                  <a:lnTo>
                    <a:pt x="660" y="164"/>
                  </a:lnTo>
                  <a:lnTo>
                    <a:pt x="668" y="164"/>
                  </a:lnTo>
                  <a:lnTo>
                    <a:pt x="670" y="170"/>
                  </a:lnTo>
                  <a:lnTo>
                    <a:pt x="678" y="174"/>
                  </a:lnTo>
                  <a:lnTo>
                    <a:pt x="682" y="174"/>
                  </a:lnTo>
                  <a:lnTo>
                    <a:pt x="684" y="172"/>
                  </a:lnTo>
                  <a:lnTo>
                    <a:pt x="688" y="170"/>
                  </a:lnTo>
                  <a:lnTo>
                    <a:pt x="690" y="172"/>
                  </a:lnTo>
                  <a:lnTo>
                    <a:pt x="688" y="176"/>
                  </a:lnTo>
                  <a:lnTo>
                    <a:pt x="688" y="180"/>
                  </a:lnTo>
                  <a:lnTo>
                    <a:pt x="690" y="182"/>
                  </a:lnTo>
                  <a:lnTo>
                    <a:pt x="692" y="188"/>
                  </a:lnTo>
                  <a:lnTo>
                    <a:pt x="692" y="194"/>
                  </a:lnTo>
                  <a:lnTo>
                    <a:pt x="688" y="196"/>
                  </a:lnTo>
                  <a:lnTo>
                    <a:pt x="684" y="198"/>
                  </a:lnTo>
                  <a:lnTo>
                    <a:pt x="678" y="202"/>
                  </a:lnTo>
                  <a:lnTo>
                    <a:pt x="674" y="204"/>
                  </a:lnTo>
                  <a:lnTo>
                    <a:pt x="678" y="210"/>
                  </a:lnTo>
                  <a:lnTo>
                    <a:pt x="682" y="212"/>
                  </a:lnTo>
                  <a:lnTo>
                    <a:pt x="686" y="214"/>
                  </a:lnTo>
                  <a:lnTo>
                    <a:pt x="684" y="218"/>
                  </a:lnTo>
                  <a:lnTo>
                    <a:pt x="680" y="218"/>
                  </a:lnTo>
                  <a:lnTo>
                    <a:pt x="674" y="218"/>
                  </a:lnTo>
                  <a:lnTo>
                    <a:pt x="674" y="222"/>
                  </a:lnTo>
                  <a:lnTo>
                    <a:pt x="674" y="228"/>
                  </a:lnTo>
                  <a:lnTo>
                    <a:pt x="676" y="230"/>
                  </a:lnTo>
                  <a:lnTo>
                    <a:pt x="680" y="232"/>
                  </a:lnTo>
                  <a:lnTo>
                    <a:pt x="680" y="236"/>
                  </a:lnTo>
                  <a:lnTo>
                    <a:pt x="680" y="240"/>
                  </a:lnTo>
                  <a:lnTo>
                    <a:pt x="682" y="246"/>
                  </a:lnTo>
                  <a:lnTo>
                    <a:pt x="684" y="248"/>
                  </a:lnTo>
                  <a:lnTo>
                    <a:pt x="680" y="260"/>
                  </a:lnTo>
                  <a:lnTo>
                    <a:pt x="678" y="268"/>
                  </a:lnTo>
                  <a:lnTo>
                    <a:pt x="678" y="272"/>
                  </a:lnTo>
                  <a:lnTo>
                    <a:pt x="672" y="274"/>
                  </a:lnTo>
                  <a:lnTo>
                    <a:pt x="658" y="270"/>
                  </a:lnTo>
                  <a:lnTo>
                    <a:pt x="646" y="272"/>
                  </a:lnTo>
                  <a:lnTo>
                    <a:pt x="642" y="272"/>
                  </a:lnTo>
                  <a:lnTo>
                    <a:pt x="640" y="276"/>
                  </a:lnTo>
                  <a:lnTo>
                    <a:pt x="636" y="282"/>
                  </a:lnTo>
                  <a:lnTo>
                    <a:pt x="630" y="284"/>
                  </a:lnTo>
                  <a:lnTo>
                    <a:pt x="624" y="286"/>
                  </a:lnTo>
                  <a:lnTo>
                    <a:pt x="620" y="288"/>
                  </a:lnTo>
                  <a:lnTo>
                    <a:pt x="618" y="300"/>
                  </a:lnTo>
                  <a:lnTo>
                    <a:pt x="618" y="306"/>
                  </a:lnTo>
                  <a:lnTo>
                    <a:pt x="618" y="310"/>
                  </a:lnTo>
                  <a:lnTo>
                    <a:pt x="618" y="312"/>
                  </a:lnTo>
                  <a:lnTo>
                    <a:pt x="604" y="314"/>
                  </a:lnTo>
                  <a:lnTo>
                    <a:pt x="588" y="316"/>
                  </a:lnTo>
                  <a:lnTo>
                    <a:pt x="578" y="326"/>
                  </a:lnTo>
                  <a:lnTo>
                    <a:pt x="566" y="332"/>
                  </a:lnTo>
                  <a:lnTo>
                    <a:pt x="546" y="334"/>
                  </a:lnTo>
                  <a:lnTo>
                    <a:pt x="528" y="340"/>
                  </a:lnTo>
                  <a:lnTo>
                    <a:pt x="518" y="348"/>
                  </a:lnTo>
                  <a:lnTo>
                    <a:pt x="510" y="350"/>
                  </a:lnTo>
                  <a:lnTo>
                    <a:pt x="502" y="342"/>
                  </a:lnTo>
                  <a:lnTo>
                    <a:pt x="496" y="356"/>
                  </a:lnTo>
                  <a:lnTo>
                    <a:pt x="492" y="362"/>
                  </a:lnTo>
                  <a:lnTo>
                    <a:pt x="484" y="362"/>
                  </a:lnTo>
                  <a:lnTo>
                    <a:pt x="476" y="362"/>
                  </a:lnTo>
                  <a:lnTo>
                    <a:pt x="458" y="362"/>
                  </a:lnTo>
                  <a:lnTo>
                    <a:pt x="450" y="366"/>
                  </a:lnTo>
                  <a:lnTo>
                    <a:pt x="462" y="372"/>
                  </a:lnTo>
                  <a:lnTo>
                    <a:pt x="496" y="398"/>
                  </a:lnTo>
                  <a:lnTo>
                    <a:pt x="496" y="402"/>
                  </a:lnTo>
                  <a:lnTo>
                    <a:pt x="494" y="406"/>
                  </a:lnTo>
                  <a:lnTo>
                    <a:pt x="498" y="412"/>
                  </a:lnTo>
                  <a:lnTo>
                    <a:pt x="508" y="414"/>
                  </a:lnTo>
                  <a:lnTo>
                    <a:pt x="516" y="410"/>
                  </a:lnTo>
                  <a:lnTo>
                    <a:pt x="528" y="406"/>
                  </a:lnTo>
                  <a:lnTo>
                    <a:pt x="546" y="408"/>
                  </a:lnTo>
                  <a:lnTo>
                    <a:pt x="554" y="410"/>
                  </a:lnTo>
                  <a:lnTo>
                    <a:pt x="548" y="416"/>
                  </a:lnTo>
                  <a:lnTo>
                    <a:pt x="548" y="422"/>
                  </a:lnTo>
                  <a:lnTo>
                    <a:pt x="544" y="426"/>
                  </a:lnTo>
                  <a:lnTo>
                    <a:pt x="534" y="430"/>
                  </a:lnTo>
                  <a:lnTo>
                    <a:pt x="528" y="430"/>
                  </a:lnTo>
                  <a:lnTo>
                    <a:pt x="518" y="426"/>
                  </a:lnTo>
                  <a:lnTo>
                    <a:pt x="510" y="428"/>
                  </a:lnTo>
                  <a:lnTo>
                    <a:pt x="498" y="438"/>
                  </a:lnTo>
                  <a:lnTo>
                    <a:pt x="480" y="440"/>
                  </a:lnTo>
                  <a:lnTo>
                    <a:pt x="470" y="444"/>
                  </a:lnTo>
                  <a:lnTo>
                    <a:pt x="462" y="456"/>
                  </a:lnTo>
                  <a:lnTo>
                    <a:pt x="456" y="458"/>
                  </a:lnTo>
                  <a:lnTo>
                    <a:pt x="444" y="456"/>
                  </a:lnTo>
                  <a:lnTo>
                    <a:pt x="434" y="454"/>
                  </a:lnTo>
                  <a:lnTo>
                    <a:pt x="440" y="434"/>
                  </a:lnTo>
                  <a:lnTo>
                    <a:pt x="438" y="424"/>
                  </a:lnTo>
                  <a:lnTo>
                    <a:pt x="434" y="418"/>
                  </a:lnTo>
                  <a:lnTo>
                    <a:pt x="418" y="410"/>
                  </a:lnTo>
                  <a:lnTo>
                    <a:pt x="414" y="410"/>
                  </a:lnTo>
                  <a:lnTo>
                    <a:pt x="404" y="410"/>
                  </a:lnTo>
                  <a:lnTo>
                    <a:pt x="402" y="412"/>
                  </a:lnTo>
                  <a:lnTo>
                    <a:pt x="400" y="406"/>
                  </a:lnTo>
                  <a:lnTo>
                    <a:pt x="414" y="394"/>
                  </a:lnTo>
                  <a:lnTo>
                    <a:pt x="426" y="388"/>
                  </a:lnTo>
                  <a:lnTo>
                    <a:pt x="438" y="384"/>
                  </a:lnTo>
                  <a:lnTo>
                    <a:pt x="442" y="380"/>
                  </a:lnTo>
                  <a:lnTo>
                    <a:pt x="438" y="370"/>
                  </a:lnTo>
                  <a:lnTo>
                    <a:pt x="430" y="368"/>
                  </a:lnTo>
                  <a:lnTo>
                    <a:pt x="416" y="368"/>
                  </a:lnTo>
                  <a:lnTo>
                    <a:pt x="400" y="370"/>
                  </a:lnTo>
                  <a:lnTo>
                    <a:pt x="388" y="368"/>
                  </a:lnTo>
                  <a:lnTo>
                    <a:pt x="384" y="364"/>
                  </a:lnTo>
                  <a:lnTo>
                    <a:pt x="376" y="354"/>
                  </a:lnTo>
                  <a:lnTo>
                    <a:pt x="386" y="344"/>
                  </a:lnTo>
                  <a:lnTo>
                    <a:pt x="378" y="328"/>
                  </a:lnTo>
                  <a:lnTo>
                    <a:pt x="372" y="338"/>
                  </a:lnTo>
                  <a:lnTo>
                    <a:pt x="362" y="338"/>
                  </a:lnTo>
                  <a:lnTo>
                    <a:pt x="344" y="342"/>
                  </a:lnTo>
                  <a:lnTo>
                    <a:pt x="334" y="344"/>
                  </a:lnTo>
                  <a:lnTo>
                    <a:pt x="322" y="362"/>
                  </a:lnTo>
                  <a:lnTo>
                    <a:pt x="306" y="384"/>
                  </a:lnTo>
                  <a:lnTo>
                    <a:pt x="292" y="390"/>
                  </a:lnTo>
                  <a:lnTo>
                    <a:pt x="288" y="390"/>
                  </a:lnTo>
                  <a:lnTo>
                    <a:pt x="284" y="402"/>
                  </a:lnTo>
                  <a:lnTo>
                    <a:pt x="284" y="406"/>
                  </a:lnTo>
                  <a:lnTo>
                    <a:pt x="288" y="408"/>
                  </a:lnTo>
                  <a:lnTo>
                    <a:pt x="276" y="406"/>
                  </a:lnTo>
                  <a:lnTo>
                    <a:pt x="264" y="412"/>
                  </a:lnTo>
                  <a:lnTo>
                    <a:pt x="256" y="412"/>
                  </a:lnTo>
                  <a:lnTo>
                    <a:pt x="256" y="418"/>
                  </a:lnTo>
                  <a:lnTo>
                    <a:pt x="246" y="416"/>
                  </a:lnTo>
                  <a:lnTo>
                    <a:pt x="238" y="412"/>
                  </a:lnTo>
                  <a:lnTo>
                    <a:pt x="236" y="406"/>
                  </a:lnTo>
                  <a:lnTo>
                    <a:pt x="234" y="406"/>
                  </a:lnTo>
                  <a:lnTo>
                    <a:pt x="234" y="404"/>
                  </a:lnTo>
                  <a:lnTo>
                    <a:pt x="236" y="404"/>
                  </a:lnTo>
                  <a:lnTo>
                    <a:pt x="238" y="404"/>
                  </a:lnTo>
                  <a:lnTo>
                    <a:pt x="240" y="404"/>
                  </a:lnTo>
                  <a:lnTo>
                    <a:pt x="244" y="404"/>
                  </a:lnTo>
                  <a:lnTo>
                    <a:pt x="246" y="402"/>
                  </a:lnTo>
                  <a:lnTo>
                    <a:pt x="246" y="400"/>
                  </a:lnTo>
                  <a:lnTo>
                    <a:pt x="244" y="396"/>
                  </a:lnTo>
                  <a:lnTo>
                    <a:pt x="244" y="394"/>
                  </a:lnTo>
                  <a:lnTo>
                    <a:pt x="246" y="392"/>
                  </a:lnTo>
                  <a:lnTo>
                    <a:pt x="248" y="390"/>
                  </a:lnTo>
                  <a:lnTo>
                    <a:pt x="250" y="390"/>
                  </a:lnTo>
                  <a:lnTo>
                    <a:pt x="252" y="388"/>
                  </a:lnTo>
                  <a:lnTo>
                    <a:pt x="254" y="386"/>
                  </a:lnTo>
                  <a:lnTo>
                    <a:pt x="254" y="382"/>
                  </a:lnTo>
                  <a:lnTo>
                    <a:pt x="254" y="380"/>
                  </a:lnTo>
                  <a:lnTo>
                    <a:pt x="256" y="380"/>
                  </a:lnTo>
                  <a:lnTo>
                    <a:pt x="262" y="378"/>
                  </a:lnTo>
                  <a:lnTo>
                    <a:pt x="262" y="376"/>
                  </a:lnTo>
                  <a:lnTo>
                    <a:pt x="262" y="374"/>
                  </a:lnTo>
                  <a:lnTo>
                    <a:pt x="262" y="372"/>
                  </a:lnTo>
                  <a:lnTo>
                    <a:pt x="264" y="368"/>
                  </a:lnTo>
                  <a:lnTo>
                    <a:pt x="264" y="366"/>
                  </a:lnTo>
                  <a:lnTo>
                    <a:pt x="262" y="362"/>
                  </a:lnTo>
                  <a:lnTo>
                    <a:pt x="262" y="360"/>
                  </a:lnTo>
                  <a:lnTo>
                    <a:pt x="262" y="356"/>
                  </a:lnTo>
                  <a:lnTo>
                    <a:pt x="260" y="354"/>
                  </a:lnTo>
                  <a:lnTo>
                    <a:pt x="264" y="350"/>
                  </a:lnTo>
                  <a:lnTo>
                    <a:pt x="268" y="348"/>
                  </a:lnTo>
                  <a:lnTo>
                    <a:pt x="270" y="346"/>
                  </a:lnTo>
                  <a:lnTo>
                    <a:pt x="272" y="348"/>
                  </a:lnTo>
                  <a:lnTo>
                    <a:pt x="272" y="350"/>
                  </a:lnTo>
                  <a:lnTo>
                    <a:pt x="272" y="356"/>
                  </a:lnTo>
                  <a:lnTo>
                    <a:pt x="274" y="356"/>
                  </a:lnTo>
                  <a:lnTo>
                    <a:pt x="274" y="354"/>
                  </a:lnTo>
                  <a:lnTo>
                    <a:pt x="274" y="352"/>
                  </a:lnTo>
                  <a:lnTo>
                    <a:pt x="276" y="352"/>
                  </a:lnTo>
                  <a:lnTo>
                    <a:pt x="278" y="354"/>
                  </a:lnTo>
                  <a:lnTo>
                    <a:pt x="278" y="352"/>
                  </a:lnTo>
                  <a:lnTo>
                    <a:pt x="280" y="350"/>
                  </a:lnTo>
                  <a:lnTo>
                    <a:pt x="282" y="350"/>
                  </a:lnTo>
                  <a:lnTo>
                    <a:pt x="282" y="352"/>
                  </a:lnTo>
                  <a:lnTo>
                    <a:pt x="284" y="354"/>
                  </a:lnTo>
                  <a:lnTo>
                    <a:pt x="286" y="358"/>
                  </a:lnTo>
                  <a:lnTo>
                    <a:pt x="288" y="356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8" y="356"/>
                  </a:lnTo>
                  <a:lnTo>
                    <a:pt x="300" y="356"/>
                  </a:lnTo>
                  <a:lnTo>
                    <a:pt x="304" y="356"/>
                  </a:lnTo>
                  <a:lnTo>
                    <a:pt x="306" y="354"/>
                  </a:lnTo>
                  <a:lnTo>
                    <a:pt x="304" y="354"/>
                  </a:lnTo>
                  <a:lnTo>
                    <a:pt x="302" y="350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2"/>
                  </a:lnTo>
                  <a:lnTo>
                    <a:pt x="300" y="340"/>
                  </a:lnTo>
                  <a:lnTo>
                    <a:pt x="300" y="336"/>
                  </a:lnTo>
                  <a:lnTo>
                    <a:pt x="300" y="334"/>
                  </a:lnTo>
                  <a:lnTo>
                    <a:pt x="298" y="332"/>
                  </a:lnTo>
                  <a:lnTo>
                    <a:pt x="294" y="330"/>
                  </a:lnTo>
                  <a:lnTo>
                    <a:pt x="292" y="330"/>
                  </a:lnTo>
                  <a:lnTo>
                    <a:pt x="290" y="326"/>
                  </a:lnTo>
                  <a:lnTo>
                    <a:pt x="288" y="324"/>
                  </a:lnTo>
                  <a:lnTo>
                    <a:pt x="286" y="324"/>
                  </a:lnTo>
                  <a:lnTo>
                    <a:pt x="286" y="320"/>
                  </a:lnTo>
                  <a:lnTo>
                    <a:pt x="286" y="318"/>
                  </a:lnTo>
                  <a:lnTo>
                    <a:pt x="286" y="316"/>
                  </a:lnTo>
                  <a:lnTo>
                    <a:pt x="284" y="318"/>
                  </a:lnTo>
                  <a:lnTo>
                    <a:pt x="282" y="314"/>
                  </a:lnTo>
                  <a:lnTo>
                    <a:pt x="284" y="314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304"/>
                  </a:lnTo>
                  <a:lnTo>
                    <a:pt x="286" y="302"/>
                  </a:lnTo>
                  <a:lnTo>
                    <a:pt x="284" y="302"/>
                  </a:lnTo>
                  <a:lnTo>
                    <a:pt x="282" y="304"/>
                  </a:lnTo>
                  <a:lnTo>
                    <a:pt x="280" y="304"/>
                  </a:lnTo>
                  <a:lnTo>
                    <a:pt x="278" y="302"/>
                  </a:lnTo>
                  <a:lnTo>
                    <a:pt x="276" y="300"/>
                  </a:lnTo>
                  <a:lnTo>
                    <a:pt x="274" y="298"/>
                  </a:lnTo>
                  <a:lnTo>
                    <a:pt x="270" y="296"/>
                  </a:lnTo>
                  <a:lnTo>
                    <a:pt x="268" y="294"/>
                  </a:lnTo>
                  <a:lnTo>
                    <a:pt x="268" y="290"/>
                  </a:lnTo>
                  <a:lnTo>
                    <a:pt x="272" y="286"/>
                  </a:lnTo>
                  <a:lnTo>
                    <a:pt x="272" y="282"/>
                  </a:lnTo>
                  <a:lnTo>
                    <a:pt x="272" y="278"/>
                  </a:lnTo>
                  <a:lnTo>
                    <a:pt x="272" y="276"/>
                  </a:lnTo>
                  <a:lnTo>
                    <a:pt x="270" y="276"/>
                  </a:lnTo>
                  <a:lnTo>
                    <a:pt x="274" y="272"/>
                  </a:lnTo>
                  <a:lnTo>
                    <a:pt x="272" y="270"/>
                  </a:lnTo>
                  <a:lnTo>
                    <a:pt x="270" y="270"/>
                  </a:lnTo>
                  <a:lnTo>
                    <a:pt x="268" y="266"/>
                  </a:lnTo>
                  <a:lnTo>
                    <a:pt x="266" y="266"/>
                  </a:lnTo>
                  <a:lnTo>
                    <a:pt x="266" y="268"/>
                  </a:lnTo>
                  <a:lnTo>
                    <a:pt x="264" y="268"/>
                  </a:lnTo>
                  <a:lnTo>
                    <a:pt x="260" y="266"/>
                  </a:lnTo>
                  <a:lnTo>
                    <a:pt x="258" y="262"/>
                  </a:lnTo>
                  <a:lnTo>
                    <a:pt x="256" y="258"/>
                  </a:lnTo>
                  <a:lnTo>
                    <a:pt x="250" y="254"/>
                  </a:lnTo>
                  <a:lnTo>
                    <a:pt x="244" y="256"/>
                  </a:lnTo>
                  <a:lnTo>
                    <a:pt x="242" y="260"/>
                  </a:lnTo>
                  <a:lnTo>
                    <a:pt x="242" y="258"/>
                  </a:lnTo>
                  <a:lnTo>
                    <a:pt x="242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2"/>
                  </a:lnTo>
                  <a:lnTo>
                    <a:pt x="240" y="250"/>
                  </a:lnTo>
                  <a:lnTo>
                    <a:pt x="238" y="250"/>
                  </a:lnTo>
                  <a:lnTo>
                    <a:pt x="234" y="252"/>
                  </a:lnTo>
                  <a:lnTo>
                    <a:pt x="232" y="250"/>
                  </a:lnTo>
                  <a:lnTo>
                    <a:pt x="230" y="252"/>
                  </a:lnTo>
                  <a:lnTo>
                    <a:pt x="230" y="250"/>
                  </a:lnTo>
                  <a:lnTo>
                    <a:pt x="228" y="248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2" y="244"/>
                  </a:lnTo>
                  <a:lnTo>
                    <a:pt x="220" y="242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40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6" y="238"/>
                  </a:lnTo>
                  <a:lnTo>
                    <a:pt x="202" y="240"/>
                  </a:lnTo>
                  <a:lnTo>
                    <a:pt x="200" y="240"/>
                  </a:lnTo>
                  <a:lnTo>
                    <a:pt x="198" y="240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88" y="242"/>
                  </a:lnTo>
                  <a:lnTo>
                    <a:pt x="186" y="244"/>
                  </a:lnTo>
                  <a:lnTo>
                    <a:pt x="180" y="240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78" y="246"/>
                  </a:lnTo>
                  <a:lnTo>
                    <a:pt x="176" y="244"/>
                  </a:lnTo>
                  <a:lnTo>
                    <a:pt x="174" y="248"/>
                  </a:lnTo>
                  <a:lnTo>
                    <a:pt x="172" y="250"/>
                  </a:lnTo>
                  <a:lnTo>
                    <a:pt x="162" y="250"/>
                  </a:lnTo>
                  <a:lnTo>
                    <a:pt x="160" y="260"/>
                  </a:lnTo>
                  <a:lnTo>
                    <a:pt x="154" y="264"/>
                  </a:lnTo>
                  <a:lnTo>
                    <a:pt x="120" y="268"/>
                  </a:lnTo>
                  <a:lnTo>
                    <a:pt x="116" y="274"/>
                  </a:lnTo>
                  <a:lnTo>
                    <a:pt x="112" y="278"/>
                  </a:lnTo>
                  <a:lnTo>
                    <a:pt x="106" y="278"/>
                  </a:lnTo>
                  <a:lnTo>
                    <a:pt x="104" y="274"/>
                  </a:lnTo>
                  <a:lnTo>
                    <a:pt x="98" y="274"/>
                  </a:lnTo>
                  <a:lnTo>
                    <a:pt x="98" y="266"/>
                  </a:lnTo>
                  <a:lnTo>
                    <a:pt x="92" y="268"/>
                  </a:lnTo>
                  <a:lnTo>
                    <a:pt x="72" y="266"/>
                  </a:lnTo>
                  <a:lnTo>
                    <a:pt x="56" y="262"/>
                  </a:lnTo>
                  <a:lnTo>
                    <a:pt x="50" y="264"/>
                  </a:lnTo>
                  <a:lnTo>
                    <a:pt x="38" y="262"/>
                  </a:lnTo>
                  <a:lnTo>
                    <a:pt x="36" y="264"/>
                  </a:lnTo>
                  <a:lnTo>
                    <a:pt x="24" y="254"/>
                  </a:lnTo>
                  <a:lnTo>
                    <a:pt x="14" y="248"/>
                  </a:lnTo>
                  <a:lnTo>
                    <a:pt x="2" y="240"/>
                  </a:lnTo>
                  <a:lnTo>
                    <a:pt x="0" y="240"/>
                  </a:lnTo>
                  <a:lnTo>
                    <a:pt x="18" y="202"/>
                  </a:lnTo>
                  <a:lnTo>
                    <a:pt x="28" y="202"/>
                  </a:lnTo>
                  <a:lnTo>
                    <a:pt x="24" y="192"/>
                  </a:lnTo>
                  <a:lnTo>
                    <a:pt x="22" y="178"/>
                  </a:lnTo>
                  <a:lnTo>
                    <a:pt x="24" y="170"/>
                  </a:lnTo>
                  <a:lnTo>
                    <a:pt x="50" y="138"/>
                  </a:lnTo>
                  <a:lnTo>
                    <a:pt x="60" y="126"/>
                  </a:lnTo>
                  <a:lnTo>
                    <a:pt x="64" y="122"/>
                  </a:lnTo>
                  <a:lnTo>
                    <a:pt x="72" y="120"/>
                  </a:lnTo>
                  <a:lnTo>
                    <a:pt x="76" y="114"/>
                  </a:lnTo>
                  <a:lnTo>
                    <a:pt x="76" y="106"/>
                  </a:lnTo>
                  <a:lnTo>
                    <a:pt x="72" y="98"/>
                  </a:lnTo>
                  <a:lnTo>
                    <a:pt x="72" y="94"/>
                  </a:lnTo>
                  <a:lnTo>
                    <a:pt x="78" y="94"/>
                  </a:lnTo>
                  <a:lnTo>
                    <a:pt x="72" y="88"/>
                  </a:lnTo>
                  <a:lnTo>
                    <a:pt x="58" y="64"/>
                  </a:lnTo>
                  <a:lnTo>
                    <a:pt x="60" y="58"/>
                  </a:lnTo>
                  <a:lnTo>
                    <a:pt x="56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33">
              <a:extLst>
                <a:ext uri="{FF2B5EF4-FFF2-40B4-BE49-F238E27FC236}">
                  <a16:creationId xmlns:a16="http://schemas.microsoft.com/office/drawing/2014/main" id="{076DA42D-A765-441E-828C-BB06B4AA3BC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1425" y="5238750"/>
              <a:ext cx="219075" cy="393700"/>
            </a:xfrm>
            <a:custGeom>
              <a:avLst/>
              <a:gdLst>
                <a:gd name="T0" fmla="*/ 302 w 132"/>
                <a:gd name="T1" fmla="*/ 630 h 254"/>
                <a:gd name="T2" fmla="*/ 231 w 132"/>
                <a:gd name="T3" fmla="*/ 644 h 254"/>
                <a:gd name="T4" fmla="*/ 156 w 132"/>
                <a:gd name="T5" fmla="*/ 633 h 254"/>
                <a:gd name="T6" fmla="*/ 87 w 132"/>
                <a:gd name="T7" fmla="*/ 649 h 254"/>
                <a:gd name="T8" fmla="*/ 109 w 132"/>
                <a:gd name="T9" fmla="*/ 583 h 254"/>
                <a:gd name="T10" fmla="*/ 94 w 132"/>
                <a:gd name="T11" fmla="*/ 527 h 254"/>
                <a:gd name="T12" fmla="*/ 109 w 132"/>
                <a:gd name="T13" fmla="*/ 475 h 254"/>
                <a:gd name="T14" fmla="*/ 109 w 132"/>
                <a:gd name="T15" fmla="*/ 461 h 254"/>
                <a:gd name="T16" fmla="*/ 48 w 132"/>
                <a:gd name="T17" fmla="*/ 469 h 254"/>
                <a:gd name="T18" fmla="*/ 72 w 132"/>
                <a:gd name="T19" fmla="*/ 443 h 254"/>
                <a:gd name="T20" fmla="*/ 94 w 132"/>
                <a:gd name="T21" fmla="*/ 421 h 254"/>
                <a:gd name="T22" fmla="*/ 62 w 132"/>
                <a:gd name="T23" fmla="*/ 435 h 254"/>
                <a:gd name="T24" fmla="*/ 10 w 132"/>
                <a:gd name="T25" fmla="*/ 435 h 254"/>
                <a:gd name="T26" fmla="*/ 16 w 132"/>
                <a:gd name="T27" fmla="*/ 405 h 254"/>
                <a:gd name="T28" fmla="*/ 25 w 132"/>
                <a:gd name="T29" fmla="*/ 352 h 254"/>
                <a:gd name="T30" fmla="*/ 72 w 132"/>
                <a:gd name="T31" fmla="*/ 318 h 254"/>
                <a:gd name="T32" fmla="*/ 87 w 132"/>
                <a:gd name="T33" fmla="*/ 244 h 254"/>
                <a:gd name="T34" fmla="*/ 109 w 132"/>
                <a:gd name="T35" fmla="*/ 88 h 254"/>
                <a:gd name="T36" fmla="*/ 94 w 132"/>
                <a:gd name="T37" fmla="*/ 41 h 254"/>
                <a:gd name="T38" fmla="*/ 172 w 132"/>
                <a:gd name="T39" fmla="*/ 11 h 254"/>
                <a:gd name="T40" fmla="*/ 253 w 132"/>
                <a:gd name="T41" fmla="*/ 26 h 254"/>
                <a:gd name="T42" fmla="*/ 411 w 132"/>
                <a:gd name="T43" fmla="*/ 11 h 254"/>
                <a:gd name="T44" fmla="*/ 449 w 132"/>
                <a:gd name="T45" fmla="*/ 30 h 254"/>
                <a:gd name="T46" fmla="*/ 523 w 132"/>
                <a:gd name="T47" fmla="*/ 74 h 254"/>
                <a:gd name="T48" fmla="*/ 504 w 132"/>
                <a:gd name="T49" fmla="*/ 96 h 254"/>
                <a:gd name="T50" fmla="*/ 411 w 132"/>
                <a:gd name="T51" fmla="*/ 132 h 254"/>
                <a:gd name="T52" fmla="*/ 418 w 132"/>
                <a:gd name="T53" fmla="*/ 184 h 254"/>
                <a:gd name="T54" fmla="*/ 411 w 132"/>
                <a:gd name="T55" fmla="*/ 297 h 254"/>
                <a:gd name="T56" fmla="*/ 380 w 132"/>
                <a:gd name="T57" fmla="*/ 322 h 254"/>
                <a:gd name="T58" fmla="*/ 324 w 132"/>
                <a:gd name="T59" fmla="*/ 332 h 254"/>
                <a:gd name="T60" fmla="*/ 387 w 132"/>
                <a:gd name="T61" fmla="*/ 394 h 254"/>
                <a:gd name="T62" fmla="*/ 370 w 132"/>
                <a:gd name="T63" fmla="*/ 423 h 254"/>
                <a:gd name="T64" fmla="*/ 332 w 132"/>
                <a:gd name="T65" fmla="*/ 485 h 254"/>
                <a:gd name="T66" fmla="*/ 411 w 132"/>
                <a:gd name="T67" fmla="*/ 511 h 254"/>
                <a:gd name="T68" fmla="*/ 332 w 132"/>
                <a:gd name="T69" fmla="*/ 567 h 254"/>
                <a:gd name="T70" fmla="*/ 318 w 132"/>
                <a:gd name="T71" fmla="*/ 620 h 2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"/>
                <a:gd name="T109" fmla="*/ 0 h 254"/>
                <a:gd name="T110" fmla="*/ 132 w 132"/>
                <a:gd name="T111" fmla="*/ 254 h 2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" h="254">
                  <a:moveTo>
                    <a:pt x="80" y="242"/>
                  </a:moveTo>
                  <a:lnTo>
                    <a:pt x="76" y="246"/>
                  </a:lnTo>
                  <a:lnTo>
                    <a:pt x="66" y="252"/>
                  </a:lnTo>
                  <a:lnTo>
                    <a:pt x="58" y="252"/>
                  </a:lnTo>
                  <a:lnTo>
                    <a:pt x="50" y="248"/>
                  </a:lnTo>
                  <a:lnTo>
                    <a:pt x="40" y="248"/>
                  </a:lnTo>
                  <a:lnTo>
                    <a:pt x="34" y="248"/>
                  </a:lnTo>
                  <a:lnTo>
                    <a:pt x="22" y="254"/>
                  </a:lnTo>
                  <a:lnTo>
                    <a:pt x="20" y="250"/>
                  </a:lnTo>
                  <a:lnTo>
                    <a:pt x="28" y="228"/>
                  </a:lnTo>
                  <a:lnTo>
                    <a:pt x="28" y="208"/>
                  </a:lnTo>
                  <a:lnTo>
                    <a:pt x="24" y="206"/>
                  </a:lnTo>
                  <a:lnTo>
                    <a:pt x="28" y="194"/>
                  </a:lnTo>
                  <a:lnTo>
                    <a:pt x="28" y="186"/>
                  </a:lnTo>
                  <a:lnTo>
                    <a:pt x="30" y="184"/>
                  </a:lnTo>
                  <a:lnTo>
                    <a:pt x="28" y="180"/>
                  </a:lnTo>
                  <a:lnTo>
                    <a:pt x="20" y="182"/>
                  </a:lnTo>
                  <a:lnTo>
                    <a:pt x="12" y="184"/>
                  </a:lnTo>
                  <a:lnTo>
                    <a:pt x="10" y="174"/>
                  </a:lnTo>
                  <a:lnTo>
                    <a:pt x="18" y="174"/>
                  </a:lnTo>
                  <a:lnTo>
                    <a:pt x="24" y="168"/>
                  </a:lnTo>
                  <a:lnTo>
                    <a:pt x="24" y="164"/>
                  </a:lnTo>
                  <a:lnTo>
                    <a:pt x="20" y="160"/>
                  </a:lnTo>
                  <a:lnTo>
                    <a:pt x="16" y="170"/>
                  </a:lnTo>
                  <a:lnTo>
                    <a:pt x="8" y="172"/>
                  </a:lnTo>
                  <a:lnTo>
                    <a:pt x="2" y="170"/>
                  </a:lnTo>
                  <a:lnTo>
                    <a:pt x="0" y="166"/>
                  </a:lnTo>
                  <a:lnTo>
                    <a:pt x="4" y="158"/>
                  </a:lnTo>
                  <a:lnTo>
                    <a:pt x="6" y="144"/>
                  </a:lnTo>
                  <a:lnTo>
                    <a:pt x="6" y="138"/>
                  </a:lnTo>
                  <a:lnTo>
                    <a:pt x="10" y="134"/>
                  </a:lnTo>
                  <a:lnTo>
                    <a:pt x="18" y="124"/>
                  </a:lnTo>
                  <a:lnTo>
                    <a:pt x="24" y="98"/>
                  </a:lnTo>
                  <a:lnTo>
                    <a:pt x="22" y="96"/>
                  </a:lnTo>
                  <a:lnTo>
                    <a:pt x="34" y="56"/>
                  </a:lnTo>
                  <a:lnTo>
                    <a:pt x="28" y="34"/>
                  </a:lnTo>
                  <a:lnTo>
                    <a:pt x="28" y="24"/>
                  </a:lnTo>
                  <a:lnTo>
                    <a:pt x="24" y="16"/>
                  </a:lnTo>
                  <a:lnTo>
                    <a:pt x="30" y="10"/>
                  </a:lnTo>
                  <a:lnTo>
                    <a:pt x="44" y="4"/>
                  </a:lnTo>
                  <a:lnTo>
                    <a:pt x="54" y="0"/>
                  </a:lnTo>
                  <a:lnTo>
                    <a:pt x="64" y="10"/>
                  </a:lnTo>
                  <a:lnTo>
                    <a:pt x="94" y="12"/>
                  </a:lnTo>
                  <a:lnTo>
                    <a:pt x="104" y="4"/>
                  </a:lnTo>
                  <a:lnTo>
                    <a:pt x="110" y="6"/>
                  </a:lnTo>
                  <a:lnTo>
                    <a:pt x="114" y="12"/>
                  </a:lnTo>
                  <a:lnTo>
                    <a:pt x="116" y="18"/>
                  </a:lnTo>
                  <a:lnTo>
                    <a:pt x="132" y="28"/>
                  </a:lnTo>
                  <a:lnTo>
                    <a:pt x="132" y="34"/>
                  </a:lnTo>
                  <a:lnTo>
                    <a:pt x="128" y="38"/>
                  </a:lnTo>
                  <a:lnTo>
                    <a:pt x="106" y="50"/>
                  </a:lnTo>
                  <a:lnTo>
                    <a:pt x="104" y="52"/>
                  </a:lnTo>
                  <a:lnTo>
                    <a:pt x="104" y="62"/>
                  </a:lnTo>
                  <a:lnTo>
                    <a:pt x="106" y="72"/>
                  </a:lnTo>
                  <a:lnTo>
                    <a:pt x="102" y="96"/>
                  </a:lnTo>
                  <a:lnTo>
                    <a:pt x="104" y="116"/>
                  </a:lnTo>
                  <a:lnTo>
                    <a:pt x="102" y="122"/>
                  </a:lnTo>
                  <a:lnTo>
                    <a:pt x="96" y="126"/>
                  </a:lnTo>
                  <a:lnTo>
                    <a:pt x="86" y="126"/>
                  </a:lnTo>
                  <a:lnTo>
                    <a:pt x="82" y="130"/>
                  </a:lnTo>
                  <a:lnTo>
                    <a:pt x="90" y="140"/>
                  </a:lnTo>
                  <a:lnTo>
                    <a:pt x="98" y="154"/>
                  </a:lnTo>
                  <a:lnTo>
                    <a:pt x="102" y="158"/>
                  </a:lnTo>
                  <a:lnTo>
                    <a:pt x="94" y="166"/>
                  </a:lnTo>
                  <a:lnTo>
                    <a:pt x="86" y="180"/>
                  </a:lnTo>
                  <a:lnTo>
                    <a:pt x="84" y="190"/>
                  </a:lnTo>
                  <a:lnTo>
                    <a:pt x="98" y="194"/>
                  </a:lnTo>
                  <a:lnTo>
                    <a:pt x="104" y="200"/>
                  </a:lnTo>
                  <a:lnTo>
                    <a:pt x="90" y="214"/>
                  </a:lnTo>
                  <a:lnTo>
                    <a:pt x="84" y="222"/>
                  </a:lnTo>
                  <a:lnTo>
                    <a:pt x="80" y="24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34">
              <a:extLst>
                <a:ext uri="{FF2B5EF4-FFF2-40B4-BE49-F238E27FC236}">
                  <a16:creationId xmlns:a16="http://schemas.microsoft.com/office/drawing/2014/main" id="{C7112C0C-544F-432F-A463-F9B94ED1506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35">
              <a:extLst>
                <a:ext uri="{FF2B5EF4-FFF2-40B4-BE49-F238E27FC236}">
                  <a16:creationId xmlns:a16="http://schemas.microsoft.com/office/drawing/2014/main" id="{E175CD52-3522-4DC4-8165-3214018D6A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3300" y="4699000"/>
              <a:ext cx="220662" cy="258762"/>
            </a:xfrm>
            <a:custGeom>
              <a:avLst/>
              <a:gdLst>
                <a:gd name="T0" fmla="*/ 14 w 134"/>
                <a:gd name="T1" fmla="*/ 14 h 168"/>
                <a:gd name="T2" fmla="*/ 30 w 134"/>
                <a:gd name="T3" fmla="*/ 14 h 168"/>
                <a:gd name="T4" fmla="*/ 61 w 134"/>
                <a:gd name="T5" fmla="*/ 10 h 168"/>
                <a:gd name="T6" fmla="*/ 96 w 134"/>
                <a:gd name="T7" fmla="*/ 2 h 168"/>
                <a:gd name="T8" fmla="*/ 126 w 134"/>
                <a:gd name="T9" fmla="*/ 0 h 168"/>
                <a:gd name="T10" fmla="*/ 150 w 134"/>
                <a:gd name="T11" fmla="*/ 2 h 168"/>
                <a:gd name="T12" fmla="*/ 166 w 134"/>
                <a:gd name="T13" fmla="*/ 0 h 168"/>
                <a:gd name="T14" fmla="*/ 196 w 134"/>
                <a:gd name="T15" fmla="*/ 19 h 168"/>
                <a:gd name="T16" fmla="*/ 217 w 134"/>
                <a:gd name="T17" fmla="*/ 30 h 168"/>
                <a:gd name="T18" fmla="*/ 233 w 134"/>
                <a:gd name="T19" fmla="*/ 35 h 168"/>
                <a:gd name="T20" fmla="*/ 257 w 134"/>
                <a:gd name="T21" fmla="*/ 35 h 168"/>
                <a:gd name="T22" fmla="*/ 257 w 134"/>
                <a:gd name="T23" fmla="*/ 43 h 168"/>
                <a:gd name="T24" fmla="*/ 260 w 134"/>
                <a:gd name="T25" fmla="*/ 56 h 168"/>
                <a:gd name="T26" fmla="*/ 292 w 134"/>
                <a:gd name="T27" fmla="*/ 41 h 168"/>
                <a:gd name="T28" fmla="*/ 330 w 134"/>
                <a:gd name="T29" fmla="*/ 67 h 168"/>
                <a:gd name="T30" fmla="*/ 353 w 134"/>
                <a:gd name="T31" fmla="*/ 67 h 168"/>
                <a:gd name="T32" fmla="*/ 376 w 134"/>
                <a:gd name="T33" fmla="*/ 78 h 168"/>
                <a:gd name="T34" fmla="*/ 376 w 134"/>
                <a:gd name="T35" fmla="*/ 92 h 168"/>
                <a:gd name="T36" fmla="*/ 376 w 134"/>
                <a:gd name="T37" fmla="*/ 117 h 168"/>
                <a:gd name="T38" fmla="*/ 366 w 134"/>
                <a:gd name="T39" fmla="*/ 143 h 168"/>
                <a:gd name="T40" fmla="*/ 399 w 134"/>
                <a:gd name="T41" fmla="*/ 157 h 168"/>
                <a:gd name="T42" fmla="*/ 419 w 134"/>
                <a:gd name="T43" fmla="*/ 157 h 168"/>
                <a:gd name="T44" fmla="*/ 427 w 134"/>
                <a:gd name="T45" fmla="*/ 167 h 168"/>
                <a:gd name="T46" fmla="*/ 411 w 134"/>
                <a:gd name="T47" fmla="*/ 185 h 168"/>
                <a:gd name="T48" fmla="*/ 427 w 134"/>
                <a:gd name="T49" fmla="*/ 195 h 168"/>
                <a:gd name="T50" fmla="*/ 437 w 134"/>
                <a:gd name="T51" fmla="*/ 211 h 168"/>
                <a:gd name="T52" fmla="*/ 456 w 134"/>
                <a:gd name="T53" fmla="*/ 225 h 168"/>
                <a:gd name="T54" fmla="*/ 480 w 134"/>
                <a:gd name="T55" fmla="*/ 240 h 168"/>
                <a:gd name="T56" fmla="*/ 480 w 134"/>
                <a:gd name="T57" fmla="*/ 262 h 168"/>
                <a:gd name="T58" fmla="*/ 480 w 134"/>
                <a:gd name="T59" fmla="*/ 270 h 168"/>
                <a:gd name="T60" fmla="*/ 502 w 134"/>
                <a:gd name="T61" fmla="*/ 284 h 168"/>
                <a:gd name="T62" fmla="*/ 480 w 134"/>
                <a:gd name="T63" fmla="*/ 290 h 168"/>
                <a:gd name="T64" fmla="*/ 466 w 134"/>
                <a:gd name="T65" fmla="*/ 292 h 168"/>
                <a:gd name="T66" fmla="*/ 450 w 134"/>
                <a:gd name="T67" fmla="*/ 279 h 168"/>
                <a:gd name="T68" fmla="*/ 437 w 134"/>
                <a:gd name="T69" fmla="*/ 290 h 168"/>
                <a:gd name="T70" fmla="*/ 419 w 134"/>
                <a:gd name="T71" fmla="*/ 284 h 168"/>
                <a:gd name="T72" fmla="*/ 404 w 134"/>
                <a:gd name="T73" fmla="*/ 274 h 168"/>
                <a:gd name="T74" fmla="*/ 391 w 134"/>
                <a:gd name="T75" fmla="*/ 279 h 168"/>
                <a:gd name="T76" fmla="*/ 383 w 134"/>
                <a:gd name="T77" fmla="*/ 290 h 168"/>
                <a:gd name="T78" fmla="*/ 376 w 134"/>
                <a:gd name="T79" fmla="*/ 274 h 168"/>
                <a:gd name="T80" fmla="*/ 361 w 134"/>
                <a:gd name="T81" fmla="*/ 270 h 168"/>
                <a:gd name="T82" fmla="*/ 336 w 134"/>
                <a:gd name="T83" fmla="*/ 290 h 168"/>
                <a:gd name="T84" fmla="*/ 345 w 134"/>
                <a:gd name="T85" fmla="*/ 313 h 168"/>
                <a:gd name="T86" fmla="*/ 336 w 134"/>
                <a:gd name="T87" fmla="*/ 328 h 168"/>
                <a:gd name="T88" fmla="*/ 336 w 134"/>
                <a:gd name="T89" fmla="*/ 342 h 168"/>
                <a:gd name="T90" fmla="*/ 307 w 134"/>
                <a:gd name="T91" fmla="*/ 352 h 168"/>
                <a:gd name="T92" fmla="*/ 292 w 134"/>
                <a:gd name="T93" fmla="*/ 370 h 168"/>
                <a:gd name="T94" fmla="*/ 277 w 134"/>
                <a:gd name="T95" fmla="*/ 377 h 168"/>
                <a:gd name="T96" fmla="*/ 277 w 134"/>
                <a:gd name="T97" fmla="*/ 396 h 168"/>
                <a:gd name="T98" fmla="*/ 257 w 134"/>
                <a:gd name="T99" fmla="*/ 407 h 168"/>
                <a:gd name="T100" fmla="*/ 233 w 134"/>
                <a:gd name="T101" fmla="*/ 407 h 168"/>
                <a:gd name="T102" fmla="*/ 226 w 134"/>
                <a:gd name="T103" fmla="*/ 396 h 168"/>
                <a:gd name="T104" fmla="*/ 226 w 134"/>
                <a:gd name="T105" fmla="*/ 370 h 168"/>
                <a:gd name="T106" fmla="*/ 242 w 134"/>
                <a:gd name="T107" fmla="*/ 250 h 168"/>
                <a:gd name="T108" fmla="*/ 107 w 134"/>
                <a:gd name="T109" fmla="*/ 114 h 168"/>
                <a:gd name="T110" fmla="*/ 0 w 134"/>
                <a:gd name="T111" fmla="*/ 30 h 1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34"/>
                <a:gd name="T169" fmla="*/ 0 h 168"/>
                <a:gd name="T170" fmla="*/ 134 w 134"/>
                <a:gd name="T171" fmla="*/ 168 h 1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34" h="168">
                  <a:moveTo>
                    <a:pt x="0" y="12"/>
                  </a:moveTo>
                  <a:lnTo>
                    <a:pt x="2" y="10"/>
                  </a:lnTo>
                  <a:lnTo>
                    <a:pt x="4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2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2"/>
                  </a:lnTo>
                  <a:lnTo>
                    <a:pt x="58" y="14"/>
                  </a:lnTo>
                  <a:lnTo>
                    <a:pt x="60" y="12"/>
                  </a:lnTo>
                  <a:lnTo>
                    <a:pt x="62" y="14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8" y="18"/>
                  </a:lnTo>
                  <a:lnTo>
                    <a:pt x="70" y="18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2" y="18"/>
                  </a:lnTo>
                  <a:lnTo>
                    <a:pt x="78" y="16"/>
                  </a:lnTo>
                  <a:lnTo>
                    <a:pt x="84" y="20"/>
                  </a:lnTo>
                  <a:lnTo>
                    <a:pt x="86" y="24"/>
                  </a:lnTo>
                  <a:lnTo>
                    <a:pt x="88" y="28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2" y="34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98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6" y="64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2" y="64"/>
                  </a:lnTo>
                  <a:lnTo>
                    <a:pt x="114" y="64"/>
                  </a:lnTo>
                  <a:lnTo>
                    <a:pt x="114" y="66"/>
                  </a:lnTo>
                  <a:lnTo>
                    <a:pt x="114" y="68"/>
                  </a:lnTo>
                  <a:lnTo>
                    <a:pt x="112" y="70"/>
                  </a:lnTo>
                  <a:lnTo>
                    <a:pt x="112" y="76"/>
                  </a:lnTo>
                  <a:lnTo>
                    <a:pt x="110" y="76"/>
                  </a:lnTo>
                  <a:lnTo>
                    <a:pt x="112" y="80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4" y="82"/>
                  </a:lnTo>
                  <a:lnTo>
                    <a:pt x="114" y="86"/>
                  </a:lnTo>
                  <a:lnTo>
                    <a:pt x="116" y="86"/>
                  </a:lnTo>
                  <a:lnTo>
                    <a:pt x="118" y="88"/>
                  </a:lnTo>
                  <a:lnTo>
                    <a:pt x="120" y="92"/>
                  </a:lnTo>
                  <a:lnTo>
                    <a:pt x="122" y="92"/>
                  </a:lnTo>
                  <a:lnTo>
                    <a:pt x="126" y="94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6" y="108"/>
                  </a:lnTo>
                  <a:lnTo>
                    <a:pt x="126" y="110"/>
                  </a:lnTo>
                  <a:lnTo>
                    <a:pt x="128" y="110"/>
                  </a:lnTo>
                  <a:lnTo>
                    <a:pt x="130" y="112"/>
                  </a:lnTo>
                  <a:lnTo>
                    <a:pt x="132" y="116"/>
                  </a:lnTo>
                  <a:lnTo>
                    <a:pt x="134" y="116"/>
                  </a:lnTo>
                  <a:lnTo>
                    <a:pt x="132" y="118"/>
                  </a:lnTo>
                  <a:lnTo>
                    <a:pt x="128" y="118"/>
                  </a:lnTo>
                  <a:lnTo>
                    <a:pt x="126" y="118"/>
                  </a:lnTo>
                  <a:lnTo>
                    <a:pt x="124" y="120"/>
                  </a:lnTo>
                  <a:lnTo>
                    <a:pt x="122" y="120"/>
                  </a:lnTo>
                  <a:lnTo>
                    <a:pt x="122" y="114"/>
                  </a:lnTo>
                  <a:lnTo>
                    <a:pt x="120" y="114"/>
                  </a:lnTo>
                  <a:lnTo>
                    <a:pt x="118" y="116"/>
                  </a:lnTo>
                  <a:lnTo>
                    <a:pt x="116" y="118"/>
                  </a:lnTo>
                  <a:lnTo>
                    <a:pt x="114" y="120"/>
                  </a:lnTo>
                  <a:lnTo>
                    <a:pt x="112" y="116"/>
                  </a:lnTo>
                  <a:lnTo>
                    <a:pt x="110" y="114"/>
                  </a:lnTo>
                  <a:lnTo>
                    <a:pt x="110" y="112"/>
                  </a:lnTo>
                  <a:lnTo>
                    <a:pt x="108" y="112"/>
                  </a:lnTo>
                  <a:lnTo>
                    <a:pt x="106" y="114"/>
                  </a:lnTo>
                  <a:lnTo>
                    <a:pt x="106" y="116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100" y="112"/>
                  </a:lnTo>
                  <a:lnTo>
                    <a:pt x="100" y="110"/>
                  </a:lnTo>
                  <a:lnTo>
                    <a:pt x="98" y="108"/>
                  </a:lnTo>
                  <a:lnTo>
                    <a:pt x="96" y="110"/>
                  </a:lnTo>
                  <a:lnTo>
                    <a:pt x="92" y="112"/>
                  </a:lnTo>
                  <a:lnTo>
                    <a:pt x="88" y="116"/>
                  </a:lnTo>
                  <a:lnTo>
                    <a:pt x="90" y="118"/>
                  </a:lnTo>
                  <a:lnTo>
                    <a:pt x="90" y="122"/>
                  </a:lnTo>
                  <a:lnTo>
                    <a:pt x="90" y="124"/>
                  </a:lnTo>
                  <a:lnTo>
                    <a:pt x="92" y="128"/>
                  </a:lnTo>
                  <a:lnTo>
                    <a:pt x="92" y="130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38"/>
                  </a:lnTo>
                  <a:lnTo>
                    <a:pt x="90" y="140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2" y="144"/>
                  </a:lnTo>
                  <a:lnTo>
                    <a:pt x="82" y="148"/>
                  </a:lnTo>
                  <a:lnTo>
                    <a:pt x="80" y="150"/>
                  </a:lnTo>
                  <a:lnTo>
                    <a:pt x="78" y="152"/>
                  </a:lnTo>
                  <a:lnTo>
                    <a:pt x="76" y="152"/>
                  </a:lnTo>
                  <a:lnTo>
                    <a:pt x="74" y="154"/>
                  </a:lnTo>
                  <a:lnTo>
                    <a:pt x="72" y="156"/>
                  </a:lnTo>
                  <a:lnTo>
                    <a:pt x="72" y="158"/>
                  </a:lnTo>
                  <a:lnTo>
                    <a:pt x="74" y="162"/>
                  </a:lnTo>
                  <a:lnTo>
                    <a:pt x="74" y="164"/>
                  </a:lnTo>
                  <a:lnTo>
                    <a:pt x="72" y="166"/>
                  </a:lnTo>
                  <a:lnTo>
                    <a:pt x="68" y="166"/>
                  </a:lnTo>
                  <a:lnTo>
                    <a:pt x="66" y="166"/>
                  </a:lnTo>
                  <a:lnTo>
                    <a:pt x="64" y="166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0" y="162"/>
                  </a:lnTo>
                  <a:lnTo>
                    <a:pt x="56" y="160"/>
                  </a:lnTo>
                  <a:lnTo>
                    <a:pt x="60" y="158"/>
                  </a:lnTo>
                  <a:lnTo>
                    <a:pt x="60" y="152"/>
                  </a:lnTo>
                  <a:lnTo>
                    <a:pt x="58" y="138"/>
                  </a:lnTo>
                  <a:lnTo>
                    <a:pt x="62" y="112"/>
                  </a:lnTo>
                  <a:lnTo>
                    <a:pt x="64" y="102"/>
                  </a:lnTo>
                  <a:lnTo>
                    <a:pt x="58" y="82"/>
                  </a:lnTo>
                  <a:lnTo>
                    <a:pt x="46" y="74"/>
                  </a:lnTo>
                  <a:lnTo>
                    <a:pt x="28" y="46"/>
                  </a:lnTo>
                  <a:lnTo>
                    <a:pt x="16" y="14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36">
              <a:extLst>
                <a:ext uri="{FF2B5EF4-FFF2-40B4-BE49-F238E27FC236}">
                  <a16:creationId xmlns:a16="http://schemas.microsoft.com/office/drawing/2014/main" id="{78D153CB-E9B7-4DC4-9837-90A046F43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5775" y="5121275"/>
              <a:ext cx="119062" cy="136525"/>
            </a:xfrm>
            <a:custGeom>
              <a:avLst/>
              <a:gdLst>
                <a:gd name="T0" fmla="*/ 131 w 72"/>
                <a:gd name="T1" fmla="*/ 227 h 88"/>
                <a:gd name="T2" fmla="*/ 96 w 72"/>
                <a:gd name="T3" fmla="*/ 207 h 88"/>
                <a:gd name="T4" fmla="*/ 9 w 72"/>
                <a:gd name="T5" fmla="*/ 159 h 88"/>
                <a:gd name="T6" fmla="*/ 9 w 72"/>
                <a:gd name="T7" fmla="*/ 153 h 88"/>
                <a:gd name="T8" fmla="*/ 0 w 72"/>
                <a:gd name="T9" fmla="*/ 144 h 88"/>
                <a:gd name="T10" fmla="*/ 0 w 72"/>
                <a:gd name="T11" fmla="*/ 133 h 88"/>
                <a:gd name="T12" fmla="*/ 9 w 72"/>
                <a:gd name="T13" fmla="*/ 123 h 88"/>
                <a:gd name="T14" fmla="*/ 14 w 72"/>
                <a:gd name="T15" fmla="*/ 114 h 88"/>
                <a:gd name="T16" fmla="*/ 9 w 72"/>
                <a:gd name="T17" fmla="*/ 103 h 88"/>
                <a:gd name="T18" fmla="*/ 0 w 72"/>
                <a:gd name="T19" fmla="*/ 91 h 88"/>
                <a:gd name="T20" fmla="*/ 0 w 72"/>
                <a:gd name="T21" fmla="*/ 77 h 88"/>
                <a:gd name="T22" fmla="*/ 14 w 72"/>
                <a:gd name="T23" fmla="*/ 66 h 88"/>
                <a:gd name="T24" fmla="*/ 30 w 72"/>
                <a:gd name="T25" fmla="*/ 66 h 88"/>
                <a:gd name="T26" fmla="*/ 30 w 72"/>
                <a:gd name="T27" fmla="*/ 50 h 88"/>
                <a:gd name="T28" fmla="*/ 37 w 72"/>
                <a:gd name="T29" fmla="*/ 41 h 88"/>
                <a:gd name="T30" fmla="*/ 50 w 72"/>
                <a:gd name="T31" fmla="*/ 30 h 88"/>
                <a:gd name="T32" fmla="*/ 70 w 72"/>
                <a:gd name="T33" fmla="*/ 26 h 88"/>
                <a:gd name="T34" fmla="*/ 76 w 72"/>
                <a:gd name="T35" fmla="*/ 35 h 88"/>
                <a:gd name="T36" fmla="*/ 84 w 72"/>
                <a:gd name="T37" fmla="*/ 41 h 88"/>
                <a:gd name="T38" fmla="*/ 84 w 72"/>
                <a:gd name="T39" fmla="*/ 26 h 88"/>
                <a:gd name="T40" fmla="*/ 76 w 72"/>
                <a:gd name="T41" fmla="*/ 11 h 88"/>
                <a:gd name="T42" fmla="*/ 76 w 72"/>
                <a:gd name="T43" fmla="*/ 2 h 88"/>
                <a:gd name="T44" fmla="*/ 89 w 72"/>
                <a:gd name="T45" fmla="*/ 2 h 88"/>
                <a:gd name="T46" fmla="*/ 107 w 72"/>
                <a:gd name="T47" fmla="*/ 0 h 88"/>
                <a:gd name="T48" fmla="*/ 111 w 72"/>
                <a:gd name="T49" fmla="*/ 11 h 88"/>
                <a:gd name="T50" fmla="*/ 137 w 72"/>
                <a:gd name="T51" fmla="*/ 21 h 88"/>
                <a:gd name="T52" fmla="*/ 150 w 72"/>
                <a:gd name="T53" fmla="*/ 30 h 88"/>
                <a:gd name="T54" fmla="*/ 168 w 72"/>
                <a:gd name="T55" fmla="*/ 47 h 88"/>
                <a:gd name="T56" fmla="*/ 182 w 72"/>
                <a:gd name="T57" fmla="*/ 50 h 88"/>
                <a:gd name="T58" fmla="*/ 205 w 72"/>
                <a:gd name="T59" fmla="*/ 56 h 88"/>
                <a:gd name="T60" fmla="*/ 214 w 72"/>
                <a:gd name="T61" fmla="*/ 56 h 88"/>
                <a:gd name="T62" fmla="*/ 219 w 72"/>
                <a:gd name="T63" fmla="*/ 66 h 88"/>
                <a:gd name="T64" fmla="*/ 234 w 72"/>
                <a:gd name="T65" fmla="*/ 74 h 88"/>
                <a:gd name="T66" fmla="*/ 255 w 72"/>
                <a:gd name="T67" fmla="*/ 77 h 88"/>
                <a:gd name="T68" fmla="*/ 257 w 72"/>
                <a:gd name="T69" fmla="*/ 81 h 88"/>
                <a:gd name="T70" fmla="*/ 274 w 72"/>
                <a:gd name="T71" fmla="*/ 91 h 88"/>
                <a:gd name="T72" fmla="*/ 274 w 72"/>
                <a:gd name="T73" fmla="*/ 97 h 88"/>
                <a:gd name="T74" fmla="*/ 257 w 72"/>
                <a:gd name="T75" fmla="*/ 103 h 88"/>
                <a:gd name="T76" fmla="*/ 255 w 72"/>
                <a:gd name="T77" fmla="*/ 107 h 88"/>
                <a:gd name="T78" fmla="*/ 227 w 72"/>
                <a:gd name="T79" fmla="*/ 103 h 88"/>
                <a:gd name="T80" fmla="*/ 219 w 72"/>
                <a:gd name="T81" fmla="*/ 114 h 88"/>
                <a:gd name="T82" fmla="*/ 234 w 72"/>
                <a:gd name="T83" fmla="*/ 114 h 88"/>
                <a:gd name="T84" fmla="*/ 234 w 72"/>
                <a:gd name="T85" fmla="*/ 123 h 88"/>
                <a:gd name="T86" fmla="*/ 205 w 72"/>
                <a:gd name="T87" fmla="*/ 139 h 88"/>
                <a:gd name="T88" fmla="*/ 144 w 72"/>
                <a:gd name="T89" fmla="*/ 151 h 88"/>
                <a:gd name="T90" fmla="*/ 131 w 72"/>
                <a:gd name="T91" fmla="*/ 207 h 88"/>
                <a:gd name="T92" fmla="*/ 131 w 72"/>
                <a:gd name="T93" fmla="*/ 227 h 8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2"/>
                <a:gd name="T142" fmla="*/ 0 h 88"/>
                <a:gd name="T143" fmla="*/ 72 w 72"/>
                <a:gd name="T144" fmla="*/ 88 h 8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2" h="88">
                  <a:moveTo>
                    <a:pt x="34" y="88"/>
                  </a:moveTo>
                  <a:lnTo>
                    <a:pt x="34" y="88"/>
                  </a:lnTo>
                  <a:lnTo>
                    <a:pt x="26" y="84"/>
                  </a:lnTo>
                  <a:lnTo>
                    <a:pt x="26" y="80"/>
                  </a:lnTo>
                  <a:lnTo>
                    <a:pt x="18" y="68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4" y="12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2" y="16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8" y="20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28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8" y="32"/>
                  </a:lnTo>
                  <a:lnTo>
                    <a:pt x="70" y="34"/>
                  </a:lnTo>
                  <a:lnTo>
                    <a:pt x="72" y="36"/>
                  </a:lnTo>
                  <a:lnTo>
                    <a:pt x="72" y="38"/>
                  </a:lnTo>
                  <a:lnTo>
                    <a:pt x="70" y="38"/>
                  </a:lnTo>
                  <a:lnTo>
                    <a:pt x="68" y="40"/>
                  </a:lnTo>
                  <a:lnTo>
                    <a:pt x="66" y="42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58" y="42"/>
                  </a:lnTo>
                  <a:lnTo>
                    <a:pt x="58" y="44"/>
                  </a:lnTo>
                  <a:lnTo>
                    <a:pt x="60" y="44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2"/>
                  </a:lnTo>
                  <a:lnTo>
                    <a:pt x="38" y="58"/>
                  </a:lnTo>
                  <a:lnTo>
                    <a:pt x="32" y="70"/>
                  </a:lnTo>
                  <a:lnTo>
                    <a:pt x="34" y="80"/>
                  </a:lnTo>
                  <a:lnTo>
                    <a:pt x="34" y="8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37">
              <a:extLst>
                <a:ext uri="{FF2B5EF4-FFF2-40B4-BE49-F238E27FC236}">
                  <a16:creationId xmlns:a16="http://schemas.microsoft.com/office/drawing/2014/main" id="{13C0FEF1-7560-4F61-A7B7-2983FDB0FF8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8000" y="4899025"/>
              <a:ext cx="261937" cy="358775"/>
            </a:xfrm>
            <a:custGeom>
              <a:avLst/>
              <a:gdLst>
                <a:gd name="T0" fmla="*/ 510 w 158"/>
                <a:gd name="T1" fmla="*/ 343 h 230"/>
                <a:gd name="T2" fmla="*/ 585 w 158"/>
                <a:gd name="T3" fmla="*/ 461 h 230"/>
                <a:gd name="T4" fmla="*/ 520 w 158"/>
                <a:gd name="T5" fmla="*/ 544 h 230"/>
                <a:gd name="T6" fmla="*/ 496 w 158"/>
                <a:gd name="T7" fmla="*/ 551 h 230"/>
                <a:gd name="T8" fmla="*/ 465 w 158"/>
                <a:gd name="T9" fmla="*/ 551 h 230"/>
                <a:gd name="T10" fmla="*/ 441 w 158"/>
                <a:gd name="T11" fmla="*/ 558 h 230"/>
                <a:gd name="T12" fmla="*/ 411 w 158"/>
                <a:gd name="T13" fmla="*/ 561 h 230"/>
                <a:gd name="T14" fmla="*/ 371 w 158"/>
                <a:gd name="T15" fmla="*/ 571 h 230"/>
                <a:gd name="T16" fmla="*/ 355 w 158"/>
                <a:gd name="T17" fmla="*/ 577 h 230"/>
                <a:gd name="T18" fmla="*/ 325 w 158"/>
                <a:gd name="T19" fmla="*/ 571 h 230"/>
                <a:gd name="T20" fmla="*/ 289 w 158"/>
                <a:gd name="T21" fmla="*/ 595 h 230"/>
                <a:gd name="T22" fmla="*/ 272 w 158"/>
                <a:gd name="T23" fmla="*/ 615 h 230"/>
                <a:gd name="T24" fmla="*/ 185 w 158"/>
                <a:gd name="T25" fmla="*/ 523 h 230"/>
                <a:gd name="T26" fmla="*/ 185 w 158"/>
                <a:gd name="T27" fmla="*/ 497 h 230"/>
                <a:gd name="T28" fmla="*/ 179 w 158"/>
                <a:gd name="T29" fmla="*/ 485 h 230"/>
                <a:gd name="T30" fmla="*/ 211 w 158"/>
                <a:gd name="T31" fmla="*/ 485 h 230"/>
                <a:gd name="T32" fmla="*/ 224 w 158"/>
                <a:gd name="T33" fmla="*/ 476 h 230"/>
                <a:gd name="T34" fmla="*/ 201 w 158"/>
                <a:gd name="T35" fmla="*/ 461 h 230"/>
                <a:gd name="T36" fmla="*/ 169 w 158"/>
                <a:gd name="T37" fmla="*/ 450 h 230"/>
                <a:gd name="T38" fmla="*/ 155 w 158"/>
                <a:gd name="T39" fmla="*/ 437 h 230"/>
                <a:gd name="T40" fmla="*/ 118 w 158"/>
                <a:gd name="T41" fmla="*/ 430 h 230"/>
                <a:gd name="T42" fmla="*/ 86 w 158"/>
                <a:gd name="T43" fmla="*/ 403 h 230"/>
                <a:gd name="T44" fmla="*/ 70 w 158"/>
                <a:gd name="T45" fmla="*/ 375 h 230"/>
                <a:gd name="T46" fmla="*/ 94 w 158"/>
                <a:gd name="T47" fmla="*/ 375 h 230"/>
                <a:gd name="T48" fmla="*/ 100 w 158"/>
                <a:gd name="T49" fmla="*/ 356 h 230"/>
                <a:gd name="T50" fmla="*/ 61 w 158"/>
                <a:gd name="T51" fmla="*/ 315 h 230"/>
                <a:gd name="T52" fmla="*/ 100 w 158"/>
                <a:gd name="T53" fmla="*/ 320 h 230"/>
                <a:gd name="T54" fmla="*/ 118 w 158"/>
                <a:gd name="T55" fmla="*/ 304 h 230"/>
                <a:gd name="T56" fmla="*/ 76 w 158"/>
                <a:gd name="T57" fmla="*/ 290 h 230"/>
                <a:gd name="T58" fmla="*/ 48 w 158"/>
                <a:gd name="T59" fmla="*/ 272 h 230"/>
                <a:gd name="T60" fmla="*/ 48 w 158"/>
                <a:gd name="T61" fmla="*/ 246 h 230"/>
                <a:gd name="T62" fmla="*/ 61 w 158"/>
                <a:gd name="T63" fmla="*/ 219 h 230"/>
                <a:gd name="T64" fmla="*/ 76 w 158"/>
                <a:gd name="T65" fmla="*/ 186 h 230"/>
                <a:gd name="T66" fmla="*/ 31 w 158"/>
                <a:gd name="T67" fmla="*/ 193 h 230"/>
                <a:gd name="T68" fmla="*/ 48 w 158"/>
                <a:gd name="T69" fmla="*/ 181 h 230"/>
                <a:gd name="T70" fmla="*/ 39 w 158"/>
                <a:gd name="T71" fmla="*/ 163 h 230"/>
                <a:gd name="T72" fmla="*/ 48 w 158"/>
                <a:gd name="T73" fmla="*/ 139 h 230"/>
                <a:gd name="T74" fmla="*/ 70 w 158"/>
                <a:gd name="T75" fmla="*/ 145 h 230"/>
                <a:gd name="T76" fmla="*/ 86 w 158"/>
                <a:gd name="T77" fmla="*/ 139 h 230"/>
                <a:gd name="T78" fmla="*/ 61 w 158"/>
                <a:gd name="T79" fmla="*/ 130 h 230"/>
                <a:gd name="T80" fmla="*/ 39 w 158"/>
                <a:gd name="T81" fmla="*/ 118 h 230"/>
                <a:gd name="T82" fmla="*/ 31 w 158"/>
                <a:gd name="T83" fmla="*/ 107 h 230"/>
                <a:gd name="T84" fmla="*/ 39 w 158"/>
                <a:gd name="T85" fmla="*/ 94 h 230"/>
                <a:gd name="T86" fmla="*/ 16 w 158"/>
                <a:gd name="T87" fmla="*/ 86 h 230"/>
                <a:gd name="T88" fmla="*/ 16 w 158"/>
                <a:gd name="T89" fmla="*/ 72 h 230"/>
                <a:gd name="T90" fmla="*/ 0 w 158"/>
                <a:gd name="T91" fmla="*/ 37 h 230"/>
                <a:gd name="T92" fmla="*/ 224 w 158"/>
                <a:gd name="T93" fmla="*/ 26 h 230"/>
                <a:gd name="T94" fmla="*/ 289 w 158"/>
                <a:gd name="T95" fmla="*/ 75 h 230"/>
                <a:gd name="T96" fmla="*/ 371 w 158"/>
                <a:gd name="T97" fmla="*/ 134 h 230"/>
                <a:gd name="T98" fmla="*/ 371 w 158"/>
                <a:gd name="T99" fmla="*/ 165 h 230"/>
                <a:gd name="T100" fmla="*/ 371 w 158"/>
                <a:gd name="T101" fmla="*/ 186 h 230"/>
                <a:gd name="T102" fmla="*/ 411 w 158"/>
                <a:gd name="T103" fmla="*/ 213 h 230"/>
                <a:gd name="T104" fmla="*/ 504 w 158"/>
                <a:gd name="T105" fmla="*/ 229 h 230"/>
                <a:gd name="T106" fmla="*/ 583 w 158"/>
                <a:gd name="T107" fmla="*/ 229 h 230"/>
                <a:gd name="T108" fmla="*/ 573 w 158"/>
                <a:gd name="T109" fmla="*/ 279 h 2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8"/>
                <a:gd name="T166" fmla="*/ 0 h 230"/>
                <a:gd name="T167" fmla="*/ 158 w 158"/>
                <a:gd name="T168" fmla="*/ 230 h 2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8" h="230">
                  <a:moveTo>
                    <a:pt x="148" y="104"/>
                  </a:moveTo>
                  <a:lnTo>
                    <a:pt x="142" y="112"/>
                  </a:lnTo>
                  <a:lnTo>
                    <a:pt x="136" y="120"/>
                  </a:lnTo>
                  <a:lnTo>
                    <a:pt x="132" y="128"/>
                  </a:lnTo>
                  <a:lnTo>
                    <a:pt x="134" y="134"/>
                  </a:lnTo>
                  <a:lnTo>
                    <a:pt x="156" y="160"/>
                  </a:lnTo>
                  <a:lnTo>
                    <a:pt x="158" y="166"/>
                  </a:lnTo>
                  <a:lnTo>
                    <a:pt x="152" y="172"/>
                  </a:lnTo>
                  <a:lnTo>
                    <a:pt x="140" y="180"/>
                  </a:lnTo>
                  <a:lnTo>
                    <a:pt x="134" y="188"/>
                  </a:lnTo>
                  <a:lnTo>
                    <a:pt x="134" y="200"/>
                  </a:lnTo>
                  <a:lnTo>
                    <a:pt x="134" y="204"/>
                  </a:lnTo>
                  <a:lnTo>
                    <a:pt x="132" y="204"/>
                  </a:lnTo>
                  <a:lnTo>
                    <a:pt x="130" y="206"/>
                  </a:lnTo>
                  <a:lnTo>
                    <a:pt x="128" y="206"/>
                  </a:lnTo>
                  <a:lnTo>
                    <a:pt x="124" y="206"/>
                  </a:lnTo>
                  <a:lnTo>
                    <a:pt x="122" y="206"/>
                  </a:lnTo>
                  <a:lnTo>
                    <a:pt x="120" y="206"/>
                  </a:lnTo>
                  <a:lnTo>
                    <a:pt x="118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2" y="210"/>
                  </a:lnTo>
                  <a:lnTo>
                    <a:pt x="110" y="210"/>
                  </a:lnTo>
                  <a:lnTo>
                    <a:pt x="106" y="210"/>
                  </a:lnTo>
                  <a:lnTo>
                    <a:pt x="102" y="208"/>
                  </a:lnTo>
                  <a:lnTo>
                    <a:pt x="100" y="210"/>
                  </a:lnTo>
                  <a:lnTo>
                    <a:pt x="98" y="214"/>
                  </a:lnTo>
                  <a:lnTo>
                    <a:pt x="96" y="214"/>
                  </a:lnTo>
                  <a:lnTo>
                    <a:pt x="96" y="216"/>
                  </a:lnTo>
                  <a:lnTo>
                    <a:pt x="96" y="218"/>
                  </a:lnTo>
                  <a:lnTo>
                    <a:pt x="94" y="218"/>
                  </a:lnTo>
                  <a:lnTo>
                    <a:pt x="92" y="216"/>
                  </a:lnTo>
                  <a:lnTo>
                    <a:pt x="90" y="214"/>
                  </a:lnTo>
                  <a:lnTo>
                    <a:pt x="88" y="212"/>
                  </a:lnTo>
                  <a:lnTo>
                    <a:pt x="86" y="214"/>
                  </a:lnTo>
                  <a:lnTo>
                    <a:pt x="84" y="214"/>
                  </a:lnTo>
                  <a:lnTo>
                    <a:pt x="80" y="216"/>
                  </a:lnTo>
                  <a:lnTo>
                    <a:pt x="76" y="218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4" y="228"/>
                  </a:lnTo>
                  <a:lnTo>
                    <a:pt x="72" y="230"/>
                  </a:lnTo>
                  <a:lnTo>
                    <a:pt x="70" y="230"/>
                  </a:lnTo>
                  <a:lnTo>
                    <a:pt x="68" y="228"/>
                  </a:lnTo>
                  <a:lnTo>
                    <a:pt x="68" y="226"/>
                  </a:lnTo>
                  <a:lnTo>
                    <a:pt x="54" y="206"/>
                  </a:lnTo>
                  <a:lnTo>
                    <a:pt x="48" y="196"/>
                  </a:lnTo>
                  <a:lnTo>
                    <a:pt x="46" y="196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48" y="186"/>
                  </a:lnTo>
                  <a:lnTo>
                    <a:pt x="46" y="186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50" y="182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56" y="180"/>
                  </a:lnTo>
                  <a:lnTo>
                    <a:pt x="58" y="180"/>
                  </a:lnTo>
                  <a:lnTo>
                    <a:pt x="58" y="178"/>
                  </a:lnTo>
                  <a:lnTo>
                    <a:pt x="56" y="176"/>
                  </a:lnTo>
                  <a:lnTo>
                    <a:pt x="54" y="174"/>
                  </a:lnTo>
                  <a:lnTo>
                    <a:pt x="52" y="172"/>
                  </a:lnTo>
                  <a:lnTo>
                    <a:pt x="50" y="172"/>
                  </a:lnTo>
                  <a:lnTo>
                    <a:pt x="48" y="170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2" y="164"/>
                  </a:lnTo>
                  <a:lnTo>
                    <a:pt x="42" y="166"/>
                  </a:lnTo>
                  <a:lnTo>
                    <a:pt x="40" y="164"/>
                  </a:lnTo>
                  <a:lnTo>
                    <a:pt x="38" y="164"/>
                  </a:lnTo>
                  <a:lnTo>
                    <a:pt x="34" y="162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28" y="158"/>
                  </a:lnTo>
                  <a:lnTo>
                    <a:pt x="26" y="154"/>
                  </a:lnTo>
                  <a:lnTo>
                    <a:pt x="24" y="152"/>
                  </a:lnTo>
                  <a:lnTo>
                    <a:pt x="22" y="150"/>
                  </a:lnTo>
                  <a:lnTo>
                    <a:pt x="18" y="146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8" y="140"/>
                  </a:lnTo>
                  <a:lnTo>
                    <a:pt x="20" y="138"/>
                  </a:lnTo>
                  <a:lnTo>
                    <a:pt x="22" y="138"/>
                  </a:lnTo>
                  <a:lnTo>
                    <a:pt x="24" y="140"/>
                  </a:lnTo>
                  <a:lnTo>
                    <a:pt x="26" y="140"/>
                  </a:lnTo>
                  <a:lnTo>
                    <a:pt x="26" y="136"/>
                  </a:lnTo>
                  <a:lnTo>
                    <a:pt x="26" y="132"/>
                  </a:lnTo>
                  <a:lnTo>
                    <a:pt x="24" y="128"/>
                  </a:lnTo>
                  <a:lnTo>
                    <a:pt x="20" y="124"/>
                  </a:lnTo>
                  <a:lnTo>
                    <a:pt x="18" y="120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2" y="120"/>
                  </a:lnTo>
                  <a:lnTo>
                    <a:pt x="26" y="120"/>
                  </a:lnTo>
                  <a:lnTo>
                    <a:pt x="28" y="118"/>
                  </a:lnTo>
                  <a:lnTo>
                    <a:pt x="30" y="118"/>
                  </a:lnTo>
                  <a:lnTo>
                    <a:pt x="30" y="116"/>
                  </a:lnTo>
                  <a:lnTo>
                    <a:pt x="30" y="114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2" y="110"/>
                  </a:lnTo>
                  <a:lnTo>
                    <a:pt x="20" y="108"/>
                  </a:lnTo>
                  <a:lnTo>
                    <a:pt x="20" y="106"/>
                  </a:lnTo>
                  <a:lnTo>
                    <a:pt x="18" y="102"/>
                  </a:lnTo>
                  <a:lnTo>
                    <a:pt x="16" y="104"/>
                  </a:lnTo>
                  <a:lnTo>
                    <a:pt x="12" y="102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2" y="90"/>
                  </a:lnTo>
                  <a:lnTo>
                    <a:pt x="12" y="88"/>
                  </a:lnTo>
                  <a:lnTo>
                    <a:pt x="14" y="86"/>
                  </a:lnTo>
                  <a:lnTo>
                    <a:pt x="16" y="82"/>
                  </a:lnTo>
                  <a:lnTo>
                    <a:pt x="18" y="78"/>
                  </a:lnTo>
                  <a:lnTo>
                    <a:pt x="20" y="74"/>
                  </a:lnTo>
                  <a:lnTo>
                    <a:pt x="20" y="70"/>
                  </a:lnTo>
                  <a:lnTo>
                    <a:pt x="18" y="68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8" y="72"/>
                  </a:lnTo>
                  <a:lnTo>
                    <a:pt x="6" y="70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2" y="62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12" y="56"/>
                  </a:lnTo>
                  <a:lnTo>
                    <a:pt x="14" y="54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6" y="38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0" y="14"/>
                  </a:lnTo>
                  <a:lnTo>
                    <a:pt x="26" y="2"/>
                  </a:lnTo>
                  <a:lnTo>
                    <a:pt x="42" y="0"/>
                  </a:lnTo>
                  <a:lnTo>
                    <a:pt x="56" y="2"/>
                  </a:lnTo>
                  <a:lnTo>
                    <a:pt x="58" y="10"/>
                  </a:lnTo>
                  <a:lnTo>
                    <a:pt x="68" y="14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4" y="28"/>
                  </a:lnTo>
                  <a:lnTo>
                    <a:pt x="76" y="32"/>
                  </a:lnTo>
                  <a:lnTo>
                    <a:pt x="74" y="34"/>
                  </a:lnTo>
                  <a:lnTo>
                    <a:pt x="86" y="46"/>
                  </a:lnTo>
                  <a:lnTo>
                    <a:pt x="96" y="50"/>
                  </a:lnTo>
                  <a:lnTo>
                    <a:pt x="102" y="52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96" y="62"/>
                  </a:lnTo>
                  <a:lnTo>
                    <a:pt x="100" y="64"/>
                  </a:lnTo>
                  <a:lnTo>
                    <a:pt x="104" y="66"/>
                  </a:lnTo>
                  <a:lnTo>
                    <a:pt x="100" y="68"/>
                  </a:lnTo>
                  <a:lnTo>
                    <a:pt x="96" y="70"/>
                  </a:lnTo>
                  <a:lnTo>
                    <a:pt x="98" y="74"/>
                  </a:lnTo>
                  <a:lnTo>
                    <a:pt x="102" y="74"/>
                  </a:lnTo>
                  <a:lnTo>
                    <a:pt x="106" y="74"/>
                  </a:lnTo>
                  <a:lnTo>
                    <a:pt x="106" y="80"/>
                  </a:lnTo>
                  <a:lnTo>
                    <a:pt x="116" y="80"/>
                  </a:lnTo>
                  <a:lnTo>
                    <a:pt x="120" y="84"/>
                  </a:lnTo>
                  <a:lnTo>
                    <a:pt x="128" y="90"/>
                  </a:lnTo>
                  <a:lnTo>
                    <a:pt x="130" y="86"/>
                  </a:lnTo>
                  <a:lnTo>
                    <a:pt x="134" y="80"/>
                  </a:lnTo>
                  <a:lnTo>
                    <a:pt x="138" y="76"/>
                  </a:lnTo>
                  <a:lnTo>
                    <a:pt x="148" y="84"/>
                  </a:lnTo>
                  <a:lnTo>
                    <a:pt x="150" y="86"/>
                  </a:lnTo>
                  <a:lnTo>
                    <a:pt x="144" y="86"/>
                  </a:lnTo>
                  <a:lnTo>
                    <a:pt x="138" y="90"/>
                  </a:lnTo>
                  <a:lnTo>
                    <a:pt x="140" y="98"/>
                  </a:lnTo>
                  <a:lnTo>
                    <a:pt x="148" y="10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C431F60E-EF36-49B1-BBF8-898748D9A0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6263" y="4035425"/>
              <a:ext cx="188912" cy="95250"/>
            </a:xfrm>
            <a:custGeom>
              <a:avLst/>
              <a:gdLst>
                <a:gd name="T0" fmla="*/ 16 w 114"/>
                <a:gd name="T1" fmla="*/ 161 h 60"/>
                <a:gd name="T2" fmla="*/ 77 w 114"/>
                <a:gd name="T3" fmla="*/ 161 h 60"/>
                <a:gd name="T4" fmla="*/ 227 w 114"/>
                <a:gd name="T5" fmla="*/ 163 h 60"/>
                <a:gd name="T6" fmla="*/ 428 w 114"/>
                <a:gd name="T7" fmla="*/ 161 h 60"/>
                <a:gd name="T8" fmla="*/ 428 w 114"/>
                <a:gd name="T9" fmla="*/ 153 h 60"/>
                <a:gd name="T10" fmla="*/ 419 w 114"/>
                <a:gd name="T11" fmla="*/ 143 h 60"/>
                <a:gd name="T12" fmla="*/ 419 w 114"/>
                <a:gd name="T13" fmla="*/ 130 h 60"/>
                <a:gd name="T14" fmla="*/ 428 w 114"/>
                <a:gd name="T15" fmla="*/ 116 h 60"/>
                <a:gd name="T16" fmla="*/ 428 w 114"/>
                <a:gd name="T17" fmla="*/ 99 h 60"/>
                <a:gd name="T18" fmla="*/ 444 w 114"/>
                <a:gd name="T19" fmla="*/ 92 h 60"/>
                <a:gd name="T20" fmla="*/ 444 w 114"/>
                <a:gd name="T21" fmla="*/ 84 h 60"/>
                <a:gd name="T22" fmla="*/ 435 w 114"/>
                <a:gd name="T23" fmla="*/ 73 h 60"/>
                <a:gd name="T24" fmla="*/ 428 w 114"/>
                <a:gd name="T25" fmla="*/ 64 h 60"/>
                <a:gd name="T26" fmla="*/ 413 w 114"/>
                <a:gd name="T27" fmla="*/ 62 h 60"/>
                <a:gd name="T28" fmla="*/ 413 w 114"/>
                <a:gd name="T29" fmla="*/ 54 h 60"/>
                <a:gd name="T30" fmla="*/ 403 w 114"/>
                <a:gd name="T31" fmla="*/ 44 h 60"/>
                <a:gd name="T32" fmla="*/ 389 w 114"/>
                <a:gd name="T33" fmla="*/ 44 h 60"/>
                <a:gd name="T34" fmla="*/ 341 w 114"/>
                <a:gd name="T35" fmla="*/ 44 h 60"/>
                <a:gd name="T36" fmla="*/ 327 w 114"/>
                <a:gd name="T37" fmla="*/ 51 h 60"/>
                <a:gd name="T38" fmla="*/ 320 w 114"/>
                <a:gd name="T39" fmla="*/ 39 h 60"/>
                <a:gd name="T40" fmla="*/ 290 w 114"/>
                <a:gd name="T41" fmla="*/ 33 h 60"/>
                <a:gd name="T42" fmla="*/ 265 w 114"/>
                <a:gd name="T43" fmla="*/ 28 h 60"/>
                <a:gd name="T44" fmla="*/ 247 w 114"/>
                <a:gd name="T45" fmla="*/ 15 h 60"/>
                <a:gd name="T46" fmla="*/ 242 w 114"/>
                <a:gd name="T47" fmla="*/ 15 h 60"/>
                <a:gd name="T48" fmla="*/ 233 w 114"/>
                <a:gd name="T49" fmla="*/ 11 h 60"/>
                <a:gd name="T50" fmla="*/ 227 w 114"/>
                <a:gd name="T51" fmla="*/ 0 h 60"/>
                <a:gd name="T52" fmla="*/ 217 w 114"/>
                <a:gd name="T53" fmla="*/ 2 h 60"/>
                <a:gd name="T54" fmla="*/ 196 w 114"/>
                <a:gd name="T55" fmla="*/ 11 h 60"/>
                <a:gd name="T56" fmla="*/ 203 w 114"/>
                <a:gd name="T57" fmla="*/ 33 h 60"/>
                <a:gd name="T58" fmla="*/ 186 w 114"/>
                <a:gd name="T59" fmla="*/ 39 h 60"/>
                <a:gd name="T60" fmla="*/ 203 w 114"/>
                <a:gd name="T61" fmla="*/ 62 h 60"/>
                <a:gd name="T62" fmla="*/ 196 w 114"/>
                <a:gd name="T63" fmla="*/ 84 h 60"/>
                <a:gd name="T64" fmla="*/ 172 w 114"/>
                <a:gd name="T65" fmla="*/ 89 h 60"/>
                <a:gd name="T66" fmla="*/ 138 w 114"/>
                <a:gd name="T67" fmla="*/ 89 h 60"/>
                <a:gd name="T68" fmla="*/ 39 w 114"/>
                <a:gd name="T69" fmla="*/ 84 h 60"/>
                <a:gd name="T70" fmla="*/ 16 w 114"/>
                <a:gd name="T71" fmla="*/ 76 h 60"/>
                <a:gd name="T72" fmla="*/ 0 w 114"/>
                <a:gd name="T73" fmla="*/ 99 h 60"/>
                <a:gd name="T74" fmla="*/ 0 w 114"/>
                <a:gd name="T75" fmla="*/ 137 h 60"/>
                <a:gd name="T76" fmla="*/ 10 w 114"/>
                <a:gd name="T77" fmla="*/ 137 h 60"/>
                <a:gd name="T78" fmla="*/ 16 w 114"/>
                <a:gd name="T79" fmla="*/ 127 h 60"/>
                <a:gd name="T80" fmla="*/ 25 w 114"/>
                <a:gd name="T81" fmla="*/ 137 h 60"/>
                <a:gd name="T82" fmla="*/ 56 w 114"/>
                <a:gd name="T83" fmla="*/ 130 h 60"/>
                <a:gd name="T84" fmla="*/ 70 w 114"/>
                <a:gd name="T85" fmla="*/ 130 h 60"/>
                <a:gd name="T86" fmla="*/ 56 w 114"/>
                <a:gd name="T87" fmla="*/ 137 h 60"/>
                <a:gd name="T88" fmla="*/ 16 w 114"/>
                <a:gd name="T89" fmla="*/ 161 h 60"/>
                <a:gd name="T90" fmla="*/ 16 w 114"/>
                <a:gd name="T91" fmla="*/ 161 h 6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4"/>
                <a:gd name="T139" fmla="*/ 0 h 60"/>
                <a:gd name="T140" fmla="*/ 114 w 114"/>
                <a:gd name="T141" fmla="*/ 60 h 6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4" h="60">
                  <a:moveTo>
                    <a:pt x="4" y="58"/>
                  </a:moveTo>
                  <a:lnTo>
                    <a:pt x="20" y="58"/>
                  </a:lnTo>
                  <a:lnTo>
                    <a:pt x="58" y="60"/>
                  </a:lnTo>
                  <a:lnTo>
                    <a:pt x="110" y="58"/>
                  </a:lnTo>
                  <a:lnTo>
                    <a:pt x="110" y="56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0" y="42"/>
                  </a:lnTo>
                  <a:lnTo>
                    <a:pt x="110" y="36"/>
                  </a:lnTo>
                  <a:lnTo>
                    <a:pt x="114" y="34"/>
                  </a:lnTo>
                  <a:lnTo>
                    <a:pt x="114" y="30"/>
                  </a:lnTo>
                  <a:lnTo>
                    <a:pt x="112" y="26"/>
                  </a:lnTo>
                  <a:lnTo>
                    <a:pt x="110" y="24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88" y="16"/>
                  </a:lnTo>
                  <a:lnTo>
                    <a:pt x="84" y="18"/>
                  </a:lnTo>
                  <a:lnTo>
                    <a:pt x="82" y="14"/>
                  </a:lnTo>
                  <a:lnTo>
                    <a:pt x="74" y="12"/>
                  </a:lnTo>
                  <a:lnTo>
                    <a:pt x="68" y="10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6" y="2"/>
                  </a:lnTo>
                  <a:lnTo>
                    <a:pt x="50" y="4"/>
                  </a:lnTo>
                  <a:lnTo>
                    <a:pt x="52" y="12"/>
                  </a:lnTo>
                  <a:lnTo>
                    <a:pt x="48" y="14"/>
                  </a:lnTo>
                  <a:lnTo>
                    <a:pt x="52" y="22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6" y="32"/>
                  </a:lnTo>
                  <a:lnTo>
                    <a:pt x="10" y="3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4" y="46"/>
                  </a:lnTo>
                  <a:lnTo>
                    <a:pt x="6" y="50"/>
                  </a:lnTo>
                  <a:lnTo>
                    <a:pt x="14" y="48"/>
                  </a:lnTo>
                  <a:lnTo>
                    <a:pt x="18" y="48"/>
                  </a:lnTo>
                  <a:lnTo>
                    <a:pt x="14" y="50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40">
              <a:extLst>
                <a:ext uri="{FF2B5EF4-FFF2-40B4-BE49-F238E27FC236}">
                  <a16:creationId xmlns:a16="http://schemas.microsoft.com/office/drawing/2014/main" id="{31960E9D-65DA-483B-A114-8D8F585F094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03775" y="4818063"/>
              <a:ext cx="765175" cy="833437"/>
            </a:xfrm>
            <a:custGeom>
              <a:avLst/>
              <a:gdLst>
                <a:gd name="T0" fmla="*/ 275 w 462"/>
                <a:gd name="T1" fmla="*/ 1081 h 536"/>
                <a:gd name="T2" fmla="*/ 255 w 462"/>
                <a:gd name="T3" fmla="*/ 900 h 536"/>
                <a:gd name="T4" fmla="*/ 362 w 462"/>
                <a:gd name="T5" fmla="*/ 867 h 536"/>
                <a:gd name="T6" fmla="*/ 475 w 462"/>
                <a:gd name="T7" fmla="*/ 947 h 536"/>
                <a:gd name="T8" fmla="*/ 413 w 462"/>
                <a:gd name="T9" fmla="*/ 1092 h 536"/>
                <a:gd name="T10" fmla="*/ 344 w 462"/>
                <a:gd name="T11" fmla="*/ 1128 h 536"/>
                <a:gd name="T12" fmla="*/ 1012 w 462"/>
                <a:gd name="T13" fmla="*/ 206 h 536"/>
                <a:gd name="T14" fmla="*/ 881 w 462"/>
                <a:gd name="T15" fmla="*/ 239 h 536"/>
                <a:gd name="T16" fmla="*/ 858 w 462"/>
                <a:gd name="T17" fmla="*/ 281 h 536"/>
                <a:gd name="T18" fmla="*/ 852 w 462"/>
                <a:gd name="T19" fmla="*/ 355 h 536"/>
                <a:gd name="T20" fmla="*/ 1066 w 462"/>
                <a:gd name="T21" fmla="*/ 534 h 536"/>
                <a:gd name="T22" fmla="*/ 1180 w 462"/>
                <a:gd name="T23" fmla="*/ 691 h 536"/>
                <a:gd name="T24" fmla="*/ 1404 w 462"/>
                <a:gd name="T25" fmla="*/ 739 h 536"/>
                <a:gd name="T26" fmla="*/ 1404 w 462"/>
                <a:gd name="T27" fmla="*/ 803 h 536"/>
                <a:gd name="T28" fmla="*/ 1700 w 462"/>
                <a:gd name="T29" fmla="*/ 923 h 536"/>
                <a:gd name="T30" fmla="*/ 1716 w 462"/>
                <a:gd name="T31" fmla="*/ 1008 h 536"/>
                <a:gd name="T32" fmla="*/ 1609 w 462"/>
                <a:gd name="T33" fmla="*/ 954 h 536"/>
                <a:gd name="T34" fmla="*/ 1526 w 462"/>
                <a:gd name="T35" fmla="*/ 945 h 536"/>
                <a:gd name="T36" fmla="*/ 1481 w 462"/>
                <a:gd name="T37" fmla="*/ 1034 h 536"/>
                <a:gd name="T38" fmla="*/ 1573 w 462"/>
                <a:gd name="T39" fmla="*/ 1118 h 536"/>
                <a:gd name="T40" fmla="*/ 1488 w 462"/>
                <a:gd name="T41" fmla="*/ 1191 h 536"/>
                <a:gd name="T42" fmla="*/ 1342 w 462"/>
                <a:gd name="T43" fmla="*/ 1251 h 536"/>
                <a:gd name="T44" fmla="*/ 1395 w 462"/>
                <a:gd name="T45" fmla="*/ 1155 h 536"/>
                <a:gd name="T46" fmla="*/ 1395 w 462"/>
                <a:gd name="T47" fmla="*/ 1065 h 536"/>
                <a:gd name="T48" fmla="*/ 1317 w 462"/>
                <a:gd name="T49" fmla="*/ 992 h 536"/>
                <a:gd name="T50" fmla="*/ 1220 w 462"/>
                <a:gd name="T51" fmla="*/ 897 h 536"/>
                <a:gd name="T52" fmla="*/ 1145 w 462"/>
                <a:gd name="T53" fmla="*/ 873 h 536"/>
                <a:gd name="T54" fmla="*/ 1036 w 462"/>
                <a:gd name="T55" fmla="*/ 817 h 536"/>
                <a:gd name="T56" fmla="*/ 806 w 462"/>
                <a:gd name="T57" fmla="*/ 722 h 536"/>
                <a:gd name="T58" fmla="*/ 560 w 462"/>
                <a:gd name="T59" fmla="*/ 490 h 536"/>
                <a:gd name="T60" fmla="*/ 352 w 462"/>
                <a:gd name="T61" fmla="*/ 386 h 536"/>
                <a:gd name="T62" fmla="*/ 163 w 462"/>
                <a:gd name="T63" fmla="*/ 464 h 536"/>
                <a:gd name="T64" fmla="*/ 48 w 462"/>
                <a:gd name="T65" fmla="*/ 370 h 536"/>
                <a:gd name="T66" fmla="*/ 0 w 462"/>
                <a:gd name="T67" fmla="*/ 290 h 536"/>
                <a:gd name="T68" fmla="*/ 70 w 462"/>
                <a:gd name="T69" fmla="*/ 230 h 536"/>
                <a:gd name="T70" fmla="*/ 155 w 462"/>
                <a:gd name="T71" fmla="*/ 159 h 536"/>
                <a:gd name="T72" fmla="*/ 275 w 462"/>
                <a:gd name="T73" fmla="*/ 89 h 536"/>
                <a:gd name="T74" fmla="*/ 352 w 462"/>
                <a:gd name="T75" fmla="*/ 179 h 536"/>
                <a:gd name="T76" fmla="*/ 429 w 462"/>
                <a:gd name="T77" fmla="*/ 78 h 536"/>
                <a:gd name="T78" fmla="*/ 499 w 462"/>
                <a:gd name="T79" fmla="*/ 101 h 536"/>
                <a:gd name="T80" fmla="*/ 547 w 462"/>
                <a:gd name="T81" fmla="*/ 63 h 536"/>
                <a:gd name="T82" fmla="*/ 575 w 462"/>
                <a:gd name="T83" fmla="*/ 31 h 536"/>
                <a:gd name="T84" fmla="*/ 716 w 462"/>
                <a:gd name="T85" fmla="*/ 15 h 536"/>
                <a:gd name="T86" fmla="*/ 842 w 462"/>
                <a:gd name="T87" fmla="*/ 31 h 536"/>
                <a:gd name="T88" fmla="*/ 1052 w 462"/>
                <a:gd name="T89" fmla="*/ 101 h 536"/>
                <a:gd name="T90" fmla="*/ 1027 w 462"/>
                <a:gd name="T91" fmla="*/ 159 h 536"/>
                <a:gd name="T92" fmla="*/ 1073 w 462"/>
                <a:gd name="T93" fmla="*/ 221 h 536"/>
                <a:gd name="T94" fmla="*/ 1086 w 462"/>
                <a:gd name="T95" fmla="*/ 1360 h 536"/>
                <a:gd name="T96" fmla="*/ 890 w 462"/>
                <a:gd name="T97" fmla="*/ 1261 h 536"/>
                <a:gd name="T98" fmla="*/ 1052 w 462"/>
                <a:gd name="T99" fmla="*/ 1251 h 536"/>
                <a:gd name="T100" fmla="*/ 1317 w 462"/>
                <a:gd name="T101" fmla="*/ 1229 h 536"/>
                <a:gd name="T102" fmla="*/ 1271 w 462"/>
                <a:gd name="T103" fmla="*/ 1342 h 536"/>
                <a:gd name="T104" fmla="*/ 1241 w 462"/>
                <a:gd name="T105" fmla="*/ 1413 h 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62"/>
                <a:gd name="T160" fmla="*/ 0 h 536"/>
                <a:gd name="T161" fmla="*/ 462 w 462"/>
                <a:gd name="T162" fmla="*/ 536 h 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62" h="536">
                  <a:moveTo>
                    <a:pt x="90" y="428"/>
                  </a:moveTo>
                  <a:lnTo>
                    <a:pt x="84" y="426"/>
                  </a:lnTo>
                  <a:lnTo>
                    <a:pt x="80" y="422"/>
                  </a:lnTo>
                  <a:lnTo>
                    <a:pt x="74" y="416"/>
                  </a:lnTo>
                  <a:lnTo>
                    <a:pt x="72" y="410"/>
                  </a:lnTo>
                  <a:lnTo>
                    <a:pt x="76" y="394"/>
                  </a:lnTo>
                  <a:lnTo>
                    <a:pt x="78" y="378"/>
                  </a:lnTo>
                  <a:lnTo>
                    <a:pt x="78" y="366"/>
                  </a:lnTo>
                  <a:lnTo>
                    <a:pt x="74" y="352"/>
                  </a:lnTo>
                  <a:lnTo>
                    <a:pt x="66" y="342"/>
                  </a:lnTo>
                  <a:lnTo>
                    <a:pt x="64" y="336"/>
                  </a:lnTo>
                  <a:lnTo>
                    <a:pt x="68" y="332"/>
                  </a:lnTo>
                  <a:lnTo>
                    <a:pt x="74" y="332"/>
                  </a:lnTo>
                  <a:lnTo>
                    <a:pt x="88" y="332"/>
                  </a:lnTo>
                  <a:lnTo>
                    <a:pt x="94" y="328"/>
                  </a:lnTo>
                  <a:lnTo>
                    <a:pt x="108" y="316"/>
                  </a:lnTo>
                  <a:lnTo>
                    <a:pt x="120" y="330"/>
                  </a:lnTo>
                  <a:lnTo>
                    <a:pt x="128" y="348"/>
                  </a:lnTo>
                  <a:lnTo>
                    <a:pt x="128" y="354"/>
                  </a:lnTo>
                  <a:lnTo>
                    <a:pt x="124" y="360"/>
                  </a:lnTo>
                  <a:lnTo>
                    <a:pt x="120" y="372"/>
                  </a:lnTo>
                  <a:lnTo>
                    <a:pt x="124" y="392"/>
                  </a:lnTo>
                  <a:lnTo>
                    <a:pt x="122" y="404"/>
                  </a:lnTo>
                  <a:lnTo>
                    <a:pt x="116" y="418"/>
                  </a:lnTo>
                  <a:lnTo>
                    <a:pt x="108" y="414"/>
                  </a:lnTo>
                  <a:lnTo>
                    <a:pt x="100" y="416"/>
                  </a:lnTo>
                  <a:lnTo>
                    <a:pt x="96" y="416"/>
                  </a:lnTo>
                  <a:lnTo>
                    <a:pt x="94" y="424"/>
                  </a:lnTo>
                  <a:lnTo>
                    <a:pt x="90" y="428"/>
                  </a:lnTo>
                  <a:close/>
                  <a:moveTo>
                    <a:pt x="280" y="84"/>
                  </a:moveTo>
                  <a:lnTo>
                    <a:pt x="276" y="76"/>
                  </a:lnTo>
                  <a:lnTo>
                    <a:pt x="272" y="76"/>
                  </a:lnTo>
                  <a:lnTo>
                    <a:pt x="266" y="80"/>
                  </a:lnTo>
                  <a:lnTo>
                    <a:pt x="264" y="78"/>
                  </a:lnTo>
                  <a:lnTo>
                    <a:pt x="256" y="76"/>
                  </a:lnTo>
                  <a:lnTo>
                    <a:pt x="254" y="84"/>
                  </a:lnTo>
                  <a:lnTo>
                    <a:pt x="246" y="84"/>
                  </a:lnTo>
                  <a:lnTo>
                    <a:pt x="228" y="94"/>
                  </a:lnTo>
                  <a:lnTo>
                    <a:pt x="230" y="90"/>
                  </a:lnTo>
                  <a:lnTo>
                    <a:pt x="222" y="94"/>
                  </a:lnTo>
                  <a:lnTo>
                    <a:pt x="222" y="100"/>
                  </a:lnTo>
                  <a:lnTo>
                    <a:pt x="218" y="100"/>
                  </a:lnTo>
                  <a:lnTo>
                    <a:pt x="218" y="104"/>
                  </a:lnTo>
                  <a:lnTo>
                    <a:pt x="224" y="106"/>
                  </a:lnTo>
                  <a:lnTo>
                    <a:pt x="224" y="114"/>
                  </a:lnTo>
                  <a:lnTo>
                    <a:pt x="228" y="116"/>
                  </a:lnTo>
                  <a:lnTo>
                    <a:pt x="232" y="122"/>
                  </a:lnTo>
                  <a:lnTo>
                    <a:pt x="230" y="126"/>
                  </a:lnTo>
                  <a:lnTo>
                    <a:pt x="222" y="134"/>
                  </a:lnTo>
                  <a:lnTo>
                    <a:pt x="222" y="140"/>
                  </a:lnTo>
                  <a:lnTo>
                    <a:pt x="226" y="152"/>
                  </a:lnTo>
                  <a:lnTo>
                    <a:pt x="238" y="172"/>
                  </a:lnTo>
                  <a:lnTo>
                    <a:pt x="274" y="194"/>
                  </a:lnTo>
                  <a:lnTo>
                    <a:pt x="278" y="202"/>
                  </a:lnTo>
                  <a:lnTo>
                    <a:pt x="280" y="216"/>
                  </a:lnTo>
                  <a:lnTo>
                    <a:pt x="286" y="228"/>
                  </a:lnTo>
                  <a:lnTo>
                    <a:pt x="292" y="242"/>
                  </a:lnTo>
                  <a:lnTo>
                    <a:pt x="304" y="256"/>
                  </a:lnTo>
                  <a:lnTo>
                    <a:pt x="308" y="262"/>
                  </a:lnTo>
                  <a:lnTo>
                    <a:pt x="316" y="266"/>
                  </a:lnTo>
                  <a:lnTo>
                    <a:pt x="316" y="272"/>
                  </a:lnTo>
                  <a:lnTo>
                    <a:pt x="324" y="276"/>
                  </a:lnTo>
                  <a:lnTo>
                    <a:pt x="344" y="282"/>
                  </a:lnTo>
                  <a:lnTo>
                    <a:pt x="366" y="280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4" y="294"/>
                  </a:lnTo>
                  <a:lnTo>
                    <a:pt x="360" y="300"/>
                  </a:lnTo>
                  <a:lnTo>
                    <a:pt x="366" y="304"/>
                  </a:lnTo>
                  <a:lnTo>
                    <a:pt x="382" y="312"/>
                  </a:lnTo>
                  <a:lnTo>
                    <a:pt x="402" y="320"/>
                  </a:lnTo>
                  <a:lnTo>
                    <a:pt x="416" y="330"/>
                  </a:lnTo>
                  <a:lnTo>
                    <a:pt x="444" y="346"/>
                  </a:lnTo>
                  <a:lnTo>
                    <a:pt x="444" y="350"/>
                  </a:lnTo>
                  <a:lnTo>
                    <a:pt x="456" y="360"/>
                  </a:lnTo>
                  <a:lnTo>
                    <a:pt x="462" y="372"/>
                  </a:lnTo>
                  <a:lnTo>
                    <a:pt x="458" y="380"/>
                  </a:lnTo>
                  <a:lnTo>
                    <a:pt x="456" y="388"/>
                  </a:lnTo>
                  <a:lnTo>
                    <a:pt x="448" y="382"/>
                  </a:lnTo>
                  <a:lnTo>
                    <a:pt x="444" y="378"/>
                  </a:lnTo>
                  <a:lnTo>
                    <a:pt x="442" y="368"/>
                  </a:lnTo>
                  <a:lnTo>
                    <a:pt x="436" y="364"/>
                  </a:lnTo>
                  <a:lnTo>
                    <a:pt x="428" y="362"/>
                  </a:lnTo>
                  <a:lnTo>
                    <a:pt x="420" y="362"/>
                  </a:lnTo>
                  <a:lnTo>
                    <a:pt x="412" y="356"/>
                  </a:lnTo>
                  <a:lnTo>
                    <a:pt x="414" y="352"/>
                  </a:lnTo>
                  <a:lnTo>
                    <a:pt x="408" y="350"/>
                  </a:lnTo>
                  <a:lnTo>
                    <a:pt x="402" y="352"/>
                  </a:lnTo>
                  <a:lnTo>
                    <a:pt x="398" y="358"/>
                  </a:lnTo>
                  <a:lnTo>
                    <a:pt x="394" y="366"/>
                  </a:lnTo>
                  <a:lnTo>
                    <a:pt x="388" y="372"/>
                  </a:lnTo>
                  <a:lnTo>
                    <a:pt x="390" y="378"/>
                  </a:lnTo>
                  <a:lnTo>
                    <a:pt x="386" y="384"/>
                  </a:lnTo>
                  <a:lnTo>
                    <a:pt x="386" y="392"/>
                  </a:lnTo>
                  <a:lnTo>
                    <a:pt x="398" y="398"/>
                  </a:lnTo>
                  <a:lnTo>
                    <a:pt x="410" y="404"/>
                  </a:lnTo>
                  <a:lnTo>
                    <a:pt x="408" y="412"/>
                  </a:lnTo>
                  <a:lnTo>
                    <a:pt x="408" y="422"/>
                  </a:lnTo>
                  <a:lnTo>
                    <a:pt x="410" y="424"/>
                  </a:lnTo>
                  <a:lnTo>
                    <a:pt x="408" y="430"/>
                  </a:lnTo>
                  <a:lnTo>
                    <a:pt x="396" y="430"/>
                  </a:lnTo>
                  <a:lnTo>
                    <a:pt x="388" y="434"/>
                  </a:lnTo>
                  <a:lnTo>
                    <a:pt x="386" y="440"/>
                  </a:lnTo>
                  <a:lnTo>
                    <a:pt x="388" y="452"/>
                  </a:lnTo>
                  <a:lnTo>
                    <a:pt x="378" y="460"/>
                  </a:lnTo>
                  <a:lnTo>
                    <a:pt x="368" y="478"/>
                  </a:lnTo>
                  <a:lnTo>
                    <a:pt x="358" y="480"/>
                  </a:lnTo>
                  <a:lnTo>
                    <a:pt x="354" y="478"/>
                  </a:lnTo>
                  <a:lnTo>
                    <a:pt x="350" y="474"/>
                  </a:lnTo>
                  <a:lnTo>
                    <a:pt x="350" y="464"/>
                  </a:lnTo>
                  <a:lnTo>
                    <a:pt x="358" y="460"/>
                  </a:lnTo>
                  <a:lnTo>
                    <a:pt x="362" y="448"/>
                  </a:lnTo>
                  <a:lnTo>
                    <a:pt x="358" y="444"/>
                  </a:lnTo>
                  <a:lnTo>
                    <a:pt x="364" y="438"/>
                  </a:lnTo>
                  <a:lnTo>
                    <a:pt x="372" y="440"/>
                  </a:lnTo>
                  <a:lnTo>
                    <a:pt x="374" y="436"/>
                  </a:lnTo>
                  <a:lnTo>
                    <a:pt x="372" y="428"/>
                  </a:lnTo>
                  <a:lnTo>
                    <a:pt x="368" y="426"/>
                  </a:lnTo>
                  <a:lnTo>
                    <a:pt x="364" y="404"/>
                  </a:lnTo>
                  <a:lnTo>
                    <a:pt x="358" y="392"/>
                  </a:lnTo>
                  <a:lnTo>
                    <a:pt x="356" y="380"/>
                  </a:lnTo>
                  <a:lnTo>
                    <a:pt x="352" y="372"/>
                  </a:lnTo>
                  <a:lnTo>
                    <a:pt x="348" y="372"/>
                  </a:lnTo>
                  <a:lnTo>
                    <a:pt x="344" y="376"/>
                  </a:lnTo>
                  <a:lnTo>
                    <a:pt x="328" y="366"/>
                  </a:lnTo>
                  <a:lnTo>
                    <a:pt x="324" y="364"/>
                  </a:lnTo>
                  <a:lnTo>
                    <a:pt x="326" y="358"/>
                  </a:lnTo>
                  <a:lnTo>
                    <a:pt x="324" y="348"/>
                  </a:lnTo>
                  <a:lnTo>
                    <a:pt x="318" y="340"/>
                  </a:lnTo>
                  <a:lnTo>
                    <a:pt x="302" y="346"/>
                  </a:lnTo>
                  <a:lnTo>
                    <a:pt x="302" y="344"/>
                  </a:lnTo>
                  <a:lnTo>
                    <a:pt x="308" y="340"/>
                  </a:lnTo>
                  <a:lnTo>
                    <a:pt x="302" y="332"/>
                  </a:lnTo>
                  <a:lnTo>
                    <a:pt x="298" y="332"/>
                  </a:lnTo>
                  <a:lnTo>
                    <a:pt x="290" y="338"/>
                  </a:lnTo>
                  <a:lnTo>
                    <a:pt x="286" y="326"/>
                  </a:lnTo>
                  <a:lnTo>
                    <a:pt x="284" y="320"/>
                  </a:lnTo>
                  <a:lnTo>
                    <a:pt x="280" y="316"/>
                  </a:lnTo>
                  <a:lnTo>
                    <a:pt x="270" y="310"/>
                  </a:lnTo>
                  <a:lnTo>
                    <a:pt x="260" y="310"/>
                  </a:lnTo>
                  <a:lnTo>
                    <a:pt x="250" y="306"/>
                  </a:lnTo>
                  <a:lnTo>
                    <a:pt x="236" y="298"/>
                  </a:lnTo>
                  <a:lnTo>
                    <a:pt x="226" y="288"/>
                  </a:lnTo>
                  <a:lnTo>
                    <a:pt x="210" y="274"/>
                  </a:lnTo>
                  <a:lnTo>
                    <a:pt x="192" y="254"/>
                  </a:lnTo>
                  <a:lnTo>
                    <a:pt x="178" y="246"/>
                  </a:lnTo>
                  <a:lnTo>
                    <a:pt x="164" y="230"/>
                  </a:lnTo>
                  <a:lnTo>
                    <a:pt x="154" y="210"/>
                  </a:lnTo>
                  <a:lnTo>
                    <a:pt x="146" y="186"/>
                  </a:lnTo>
                  <a:lnTo>
                    <a:pt x="140" y="174"/>
                  </a:lnTo>
                  <a:lnTo>
                    <a:pt x="132" y="164"/>
                  </a:lnTo>
                  <a:lnTo>
                    <a:pt x="124" y="158"/>
                  </a:lnTo>
                  <a:lnTo>
                    <a:pt x="102" y="150"/>
                  </a:lnTo>
                  <a:lnTo>
                    <a:pt x="92" y="146"/>
                  </a:lnTo>
                  <a:lnTo>
                    <a:pt x="84" y="146"/>
                  </a:lnTo>
                  <a:lnTo>
                    <a:pt x="66" y="162"/>
                  </a:lnTo>
                  <a:lnTo>
                    <a:pt x="58" y="172"/>
                  </a:lnTo>
                  <a:lnTo>
                    <a:pt x="46" y="174"/>
                  </a:lnTo>
                  <a:lnTo>
                    <a:pt x="42" y="176"/>
                  </a:lnTo>
                  <a:lnTo>
                    <a:pt x="44" y="164"/>
                  </a:lnTo>
                  <a:lnTo>
                    <a:pt x="42" y="158"/>
                  </a:lnTo>
                  <a:lnTo>
                    <a:pt x="28" y="160"/>
                  </a:lnTo>
                  <a:lnTo>
                    <a:pt x="14" y="150"/>
                  </a:lnTo>
                  <a:lnTo>
                    <a:pt x="12" y="140"/>
                  </a:lnTo>
                  <a:lnTo>
                    <a:pt x="18" y="130"/>
                  </a:lnTo>
                  <a:lnTo>
                    <a:pt x="20" y="130"/>
                  </a:lnTo>
                  <a:lnTo>
                    <a:pt x="18" y="122"/>
                  </a:lnTo>
                  <a:lnTo>
                    <a:pt x="8" y="118"/>
                  </a:lnTo>
                  <a:lnTo>
                    <a:pt x="0" y="110"/>
                  </a:lnTo>
                  <a:lnTo>
                    <a:pt x="8" y="104"/>
                  </a:lnTo>
                  <a:lnTo>
                    <a:pt x="12" y="108"/>
                  </a:lnTo>
                  <a:lnTo>
                    <a:pt x="20" y="98"/>
                  </a:lnTo>
                  <a:lnTo>
                    <a:pt x="24" y="92"/>
                  </a:lnTo>
                  <a:lnTo>
                    <a:pt x="18" y="88"/>
                  </a:lnTo>
                  <a:lnTo>
                    <a:pt x="16" y="80"/>
                  </a:lnTo>
                  <a:lnTo>
                    <a:pt x="8" y="72"/>
                  </a:lnTo>
                  <a:lnTo>
                    <a:pt x="18" y="64"/>
                  </a:lnTo>
                  <a:lnTo>
                    <a:pt x="28" y="66"/>
                  </a:lnTo>
                  <a:lnTo>
                    <a:pt x="40" y="60"/>
                  </a:lnTo>
                  <a:lnTo>
                    <a:pt x="50" y="64"/>
                  </a:lnTo>
                  <a:lnTo>
                    <a:pt x="56" y="60"/>
                  </a:lnTo>
                  <a:lnTo>
                    <a:pt x="60" y="50"/>
                  </a:lnTo>
                  <a:lnTo>
                    <a:pt x="60" y="44"/>
                  </a:lnTo>
                  <a:lnTo>
                    <a:pt x="72" y="34"/>
                  </a:lnTo>
                  <a:lnTo>
                    <a:pt x="72" y="44"/>
                  </a:lnTo>
                  <a:lnTo>
                    <a:pt x="82" y="54"/>
                  </a:lnTo>
                  <a:lnTo>
                    <a:pt x="88" y="56"/>
                  </a:lnTo>
                  <a:lnTo>
                    <a:pt x="86" y="60"/>
                  </a:lnTo>
                  <a:lnTo>
                    <a:pt x="92" y="68"/>
                  </a:lnTo>
                  <a:lnTo>
                    <a:pt x="98" y="64"/>
                  </a:lnTo>
                  <a:lnTo>
                    <a:pt x="98" y="52"/>
                  </a:lnTo>
                  <a:lnTo>
                    <a:pt x="104" y="42"/>
                  </a:lnTo>
                  <a:lnTo>
                    <a:pt x="104" y="32"/>
                  </a:lnTo>
                  <a:lnTo>
                    <a:pt x="112" y="30"/>
                  </a:lnTo>
                  <a:lnTo>
                    <a:pt x="114" y="40"/>
                  </a:lnTo>
                  <a:lnTo>
                    <a:pt x="118" y="44"/>
                  </a:lnTo>
                  <a:lnTo>
                    <a:pt x="122" y="42"/>
                  </a:lnTo>
                  <a:lnTo>
                    <a:pt x="122" y="40"/>
                  </a:lnTo>
                  <a:lnTo>
                    <a:pt x="130" y="38"/>
                  </a:lnTo>
                  <a:lnTo>
                    <a:pt x="134" y="46"/>
                  </a:lnTo>
                  <a:lnTo>
                    <a:pt x="138" y="36"/>
                  </a:lnTo>
                  <a:lnTo>
                    <a:pt x="134" y="32"/>
                  </a:lnTo>
                  <a:lnTo>
                    <a:pt x="136" y="26"/>
                  </a:lnTo>
                  <a:lnTo>
                    <a:pt x="142" y="24"/>
                  </a:lnTo>
                  <a:lnTo>
                    <a:pt x="144" y="28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50" y="12"/>
                  </a:lnTo>
                  <a:lnTo>
                    <a:pt x="162" y="16"/>
                  </a:lnTo>
                  <a:lnTo>
                    <a:pt x="172" y="16"/>
                  </a:lnTo>
                  <a:lnTo>
                    <a:pt x="178" y="6"/>
                  </a:lnTo>
                  <a:lnTo>
                    <a:pt x="184" y="4"/>
                  </a:lnTo>
                  <a:lnTo>
                    <a:pt x="186" y="6"/>
                  </a:lnTo>
                  <a:lnTo>
                    <a:pt x="194" y="2"/>
                  </a:lnTo>
                  <a:lnTo>
                    <a:pt x="200" y="6"/>
                  </a:lnTo>
                  <a:lnTo>
                    <a:pt x="214" y="0"/>
                  </a:lnTo>
                  <a:lnTo>
                    <a:pt x="214" y="8"/>
                  </a:lnTo>
                  <a:lnTo>
                    <a:pt x="220" y="12"/>
                  </a:lnTo>
                  <a:lnTo>
                    <a:pt x="226" y="22"/>
                  </a:lnTo>
                  <a:lnTo>
                    <a:pt x="248" y="28"/>
                  </a:lnTo>
                  <a:lnTo>
                    <a:pt x="264" y="30"/>
                  </a:lnTo>
                  <a:lnTo>
                    <a:pt x="272" y="32"/>
                  </a:lnTo>
                  <a:lnTo>
                    <a:pt x="274" y="38"/>
                  </a:lnTo>
                  <a:lnTo>
                    <a:pt x="264" y="44"/>
                  </a:lnTo>
                  <a:lnTo>
                    <a:pt x="266" y="48"/>
                  </a:lnTo>
                  <a:lnTo>
                    <a:pt x="270" y="48"/>
                  </a:lnTo>
                  <a:lnTo>
                    <a:pt x="274" y="54"/>
                  </a:lnTo>
                  <a:lnTo>
                    <a:pt x="268" y="60"/>
                  </a:lnTo>
                  <a:lnTo>
                    <a:pt x="274" y="62"/>
                  </a:lnTo>
                  <a:lnTo>
                    <a:pt x="270" y="72"/>
                  </a:lnTo>
                  <a:lnTo>
                    <a:pt x="276" y="74"/>
                  </a:lnTo>
                  <a:lnTo>
                    <a:pt x="282" y="78"/>
                  </a:lnTo>
                  <a:lnTo>
                    <a:pt x="280" y="84"/>
                  </a:lnTo>
                  <a:close/>
                  <a:moveTo>
                    <a:pt x="324" y="536"/>
                  </a:moveTo>
                  <a:lnTo>
                    <a:pt x="312" y="534"/>
                  </a:lnTo>
                  <a:lnTo>
                    <a:pt x="298" y="520"/>
                  </a:lnTo>
                  <a:lnTo>
                    <a:pt x="284" y="516"/>
                  </a:lnTo>
                  <a:lnTo>
                    <a:pt x="250" y="498"/>
                  </a:lnTo>
                  <a:lnTo>
                    <a:pt x="236" y="496"/>
                  </a:lnTo>
                  <a:lnTo>
                    <a:pt x="232" y="492"/>
                  </a:lnTo>
                  <a:lnTo>
                    <a:pt x="230" y="486"/>
                  </a:lnTo>
                  <a:lnTo>
                    <a:pt x="232" y="478"/>
                  </a:lnTo>
                  <a:lnTo>
                    <a:pt x="238" y="472"/>
                  </a:lnTo>
                  <a:lnTo>
                    <a:pt x="242" y="468"/>
                  </a:lnTo>
                  <a:lnTo>
                    <a:pt x="252" y="472"/>
                  </a:lnTo>
                  <a:lnTo>
                    <a:pt x="262" y="464"/>
                  </a:lnTo>
                  <a:lnTo>
                    <a:pt x="274" y="474"/>
                  </a:lnTo>
                  <a:lnTo>
                    <a:pt x="282" y="476"/>
                  </a:lnTo>
                  <a:lnTo>
                    <a:pt x="294" y="476"/>
                  </a:lnTo>
                  <a:lnTo>
                    <a:pt x="318" y="472"/>
                  </a:lnTo>
                  <a:lnTo>
                    <a:pt x="342" y="464"/>
                  </a:lnTo>
                  <a:lnTo>
                    <a:pt x="344" y="466"/>
                  </a:lnTo>
                  <a:lnTo>
                    <a:pt x="346" y="470"/>
                  </a:lnTo>
                  <a:lnTo>
                    <a:pt x="344" y="472"/>
                  </a:lnTo>
                  <a:lnTo>
                    <a:pt x="334" y="490"/>
                  </a:lnTo>
                  <a:lnTo>
                    <a:pt x="332" y="500"/>
                  </a:lnTo>
                  <a:lnTo>
                    <a:pt x="332" y="510"/>
                  </a:lnTo>
                  <a:lnTo>
                    <a:pt x="338" y="520"/>
                  </a:lnTo>
                  <a:lnTo>
                    <a:pt x="336" y="524"/>
                  </a:lnTo>
                  <a:lnTo>
                    <a:pt x="328" y="536"/>
                  </a:lnTo>
                  <a:lnTo>
                    <a:pt x="324" y="53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41">
              <a:extLst>
                <a:ext uri="{FF2B5EF4-FFF2-40B4-BE49-F238E27FC236}">
                  <a16:creationId xmlns:a16="http://schemas.microsoft.com/office/drawing/2014/main" id="{118E017A-5280-4879-AA62-902CF489D89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9125" y="5216525"/>
              <a:ext cx="150812" cy="131762"/>
            </a:xfrm>
            <a:custGeom>
              <a:avLst/>
              <a:gdLst>
                <a:gd name="T0" fmla="*/ 327 w 92"/>
                <a:gd name="T1" fmla="*/ 154 h 84"/>
                <a:gd name="T2" fmla="*/ 296 w 92"/>
                <a:gd name="T3" fmla="*/ 165 h 84"/>
                <a:gd name="T4" fmla="*/ 269 w 92"/>
                <a:gd name="T5" fmla="*/ 177 h 84"/>
                <a:gd name="T6" fmla="*/ 224 w 92"/>
                <a:gd name="T7" fmla="*/ 177 h 84"/>
                <a:gd name="T8" fmla="*/ 204 w 92"/>
                <a:gd name="T9" fmla="*/ 171 h 84"/>
                <a:gd name="T10" fmla="*/ 181 w 92"/>
                <a:gd name="T11" fmla="*/ 182 h 84"/>
                <a:gd name="T12" fmla="*/ 150 w 92"/>
                <a:gd name="T13" fmla="*/ 209 h 84"/>
                <a:gd name="T14" fmla="*/ 118 w 92"/>
                <a:gd name="T15" fmla="*/ 219 h 84"/>
                <a:gd name="T16" fmla="*/ 63 w 92"/>
                <a:gd name="T17" fmla="*/ 226 h 84"/>
                <a:gd name="T18" fmla="*/ 21 w 92"/>
                <a:gd name="T19" fmla="*/ 189 h 84"/>
                <a:gd name="T20" fmla="*/ 2 w 92"/>
                <a:gd name="T21" fmla="*/ 145 h 84"/>
                <a:gd name="T22" fmla="*/ 0 w 92"/>
                <a:gd name="T23" fmla="*/ 107 h 84"/>
                <a:gd name="T24" fmla="*/ 2 w 92"/>
                <a:gd name="T25" fmla="*/ 79 h 84"/>
                <a:gd name="T26" fmla="*/ 2 w 92"/>
                <a:gd name="T27" fmla="*/ 64 h 84"/>
                <a:gd name="T28" fmla="*/ 14 w 92"/>
                <a:gd name="T29" fmla="*/ 72 h 84"/>
                <a:gd name="T30" fmla="*/ 21 w 92"/>
                <a:gd name="T31" fmla="*/ 72 h 84"/>
                <a:gd name="T32" fmla="*/ 30 w 92"/>
                <a:gd name="T33" fmla="*/ 64 h 84"/>
                <a:gd name="T34" fmla="*/ 30 w 92"/>
                <a:gd name="T35" fmla="*/ 61 h 84"/>
                <a:gd name="T36" fmla="*/ 30 w 92"/>
                <a:gd name="T37" fmla="*/ 47 h 84"/>
                <a:gd name="T38" fmla="*/ 37 w 92"/>
                <a:gd name="T39" fmla="*/ 37 h 84"/>
                <a:gd name="T40" fmla="*/ 37 w 92"/>
                <a:gd name="T41" fmla="*/ 37 h 84"/>
                <a:gd name="T42" fmla="*/ 50 w 92"/>
                <a:gd name="T43" fmla="*/ 31 h 84"/>
                <a:gd name="T44" fmla="*/ 63 w 92"/>
                <a:gd name="T45" fmla="*/ 26 h 84"/>
                <a:gd name="T46" fmla="*/ 72 w 92"/>
                <a:gd name="T47" fmla="*/ 26 h 84"/>
                <a:gd name="T48" fmla="*/ 78 w 92"/>
                <a:gd name="T49" fmla="*/ 21 h 84"/>
                <a:gd name="T50" fmla="*/ 88 w 92"/>
                <a:gd name="T51" fmla="*/ 26 h 84"/>
                <a:gd name="T52" fmla="*/ 95 w 92"/>
                <a:gd name="T53" fmla="*/ 31 h 84"/>
                <a:gd name="T54" fmla="*/ 102 w 92"/>
                <a:gd name="T55" fmla="*/ 37 h 84"/>
                <a:gd name="T56" fmla="*/ 109 w 92"/>
                <a:gd name="T57" fmla="*/ 37 h 84"/>
                <a:gd name="T58" fmla="*/ 109 w 92"/>
                <a:gd name="T59" fmla="*/ 31 h 84"/>
                <a:gd name="T60" fmla="*/ 109 w 92"/>
                <a:gd name="T61" fmla="*/ 26 h 84"/>
                <a:gd name="T62" fmla="*/ 118 w 92"/>
                <a:gd name="T63" fmla="*/ 26 h 84"/>
                <a:gd name="T64" fmla="*/ 121 w 92"/>
                <a:gd name="T65" fmla="*/ 15 h 84"/>
                <a:gd name="T66" fmla="*/ 133 w 92"/>
                <a:gd name="T67" fmla="*/ 11 h 84"/>
                <a:gd name="T68" fmla="*/ 146 w 92"/>
                <a:gd name="T69" fmla="*/ 15 h 84"/>
                <a:gd name="T70" fmla="*/ 146 w 92"/>
                <a:gd name="T71" fmla="*/ 15 h 84"/>
                <a:gd name="T72" fmla="*/ 160 w 92"/>
                <a:gd name="T73" fmla="*/ 15 h 84"/>
                <a:gd name="T74" fmla="*/ 167 w 92"/>
                <a:gd name="T75" fmla="*/ 15 h 84"/>
                <a:gd name="T76" fmla="*/ 172 w 92"/>
                <a:gd name="T77" fmla="*/ 11 h 84"/>
                <a:gd name="T78" fmla="*/ 181 w 92"/>
                <a:gd name="T79" fmla="*/ 2 h 84"/>
                <a:gd name="T80" fmla="*/ 186 w 92"/>
                <a:gd name="T81" fmla="*/ 2 h 84"/>
                <a:gd name="T82" fmla="*/ 186 w 92"/>
                <a:gd name="T83" fmla="*/ 2 h 84"/>
                <a:gd name="T84" fmla="*/ 197 w 92"/>
                <a:gd name="T85" fmla="*/ 2 h 84"/>
                <a:gd name="T86" fmla="*/ 204 w 92"/>
                <a:gd name="T87" fmla="*/ 2 h 84"/>
                <a:gd name="T88" fmla="*/ 209 w 92"/>
                <a:gd name="T89" fmla="*/ 2 h 84"/>
                <a:gd name="T90" fmla="*/ 209 w 92"/>
                <a:gd name="T91" fmla="*/ 2 h 84"/>
                <a:gd name="T92" fmla="*/ 224 w 92"/>
                <a:gd name="T93" fmla="*/ 2 h 84"/>
                <a:gd name="T94" fmla="*/ 230 w 92"/>
                <a:gd name="T95" fmla="*/ 2 h 84"/>
                <a:gd name="T96" fmla="*/ 239 w 92"/>
                <a:gd name="T97" fmla="*/ 0 h 84"/>
                <a:gd name="T98" fmla="*/ 245 w 92"/>
                <a:gd name="T99" fmla="*/ 0 h 84"/>
                <a:gd name="T100" fmla="*/ 245 w 92"/>
                <a:gd name="T101" fmla="*/ 0 h 84"/>
                <a:gd name="T102" fmla="*/ 245 w 92"/>
                <a:gd name="T103" fmla="*/ 2 h 84"/>
                <a:gd name="T104" fmla="*/ 255 w 92"/>
                <a:gd name="T105" fmla="*/ 21 h 84"/>
                <a:gd name="T106" fmla="*/ 296 w 92"/>
                <a:gd name="T107" fmla="*/ 37 h 84"/>
                <a:gd name="T108" fmla="*/ 317 w 92"/>
                <a:gd name="T109" fmla="*/ 64 h 84"/>
                <a:gd name="T110" fmla="*/ 333 w 92"/>
                <a:gd name="T111" fmla="*/ 91 h 84"/>
                <a:gd name="T112" fmla="*/ 333 w 92"/>
                <a:gd name="T113" fmla="*/ 123 h 84"/>
                <a:gd name="T114" fmla="*/ 327 w 92"/>
                <a:gd name="T115" fmla="*/ 139 h 84"/>
                <a:gd name="T116" fmla="*/ 327 w 92"/>
                <a:gd name="T117" fmla="*/ 154 h 84"/>
                <a:gd name="T118" fmla="*/ 327 w 92"/>
                <a:gd name="T119" fmla="*/ 154 h 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2"/>
                <a:gd name="T181" fmla="*/ 0 h 84"/>
                <a:gd name="T182" fmla="*/ 92 w 92"/>
                <a:gd name="T183" fmla="*/ 84 h 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2" h="84">
                  <a:moveTo>
                    <a:pt x="90" y="58"/>
                  </a:moveTo>
                  <a:lnTo>
                    <a:pt x="82" y="62"/>
                  </a:lnTo>
                  <a:lnTo>
                    <a:pt x="74" y="66"/>
                  </a:lnTo>
                  <a:lnTo>
                    <a:pt x="62" y="66"/>
                  </a:lnTo>
                  <a:lnTo>
                    <a:pt x="56" y="64"/>
                  </a:lnTo>
                  <a:lnTo>
                    <a:pt x="50" y="68"/>
                  </a:lnTo>
                  <a:lnTo>
                    <a:pt x="42" y="78"/>
                  </a:lnTo>
                  <a:lnTo>
                    <a:pt x="32" y="82"/>
                  </a:lnTo>
                  <a:lnTo>
                    <a:pt x="18" y="84"/>
                  </a:lnTo>
                  <a:lnTo>
                    <a:pt x="6" y="70"/>
                  </a:lnTo>
                  <a:lnTo>
                    <a:pt x="2" y="54"/>
                  </a:lnTo>
                  <a:lnTo>
                    <a:pt x="0" y="40"/>
                  </a:lnTo>
                  <a:lnTo>
                    <a:pt x="2" y="3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10" y="14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4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70" y="8"/>
                  </a:lnTo>
                  <a:lnTo>
                    <a:pt x="82" y="14"/>
                  </a:lnTo>
                  <a:lnTo>
                    <a:pt x="88" y="24"/>
                  </a:lnTo>
                  <a:lnTo>
                    <a:pt x="92" y="34"/>
                  </a:lnTo>
                  <a:lnTo>
                    <a:pt x="92" y="46"/>
                  </a:lnTo>
                  <a:lnTo>
                    <a:pt x="90" y="52"/>
                  </a:lnTo>
                  <a:lnTo>
                    <a:pt x="90" y="5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42">
              <a:extLst>
                <a:ext uri="{FF2B5EF4-FFF2-40B4-BE49-F238E27FC236}">
                  <a16:creationId xmlns:a16="http://schemas.microsoft.com/office/drawing/2014/main" id="{A86BAB7C-0527-4226-ABF6-FC196F1104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075" y="5060950"/>
              <a:ext cx="398462" cy="250825"/>
            </a:xfrm>
            <a:custGeom>
              <a:avLst/>
              <a:gdLst>
                <a:gd name="T0" fmla="*/ 10 w 240"/>
                <a:gd name="T1" fmla="*/ 244 h 162"/>
                <a:gd name="T2" fmla="*/ 31 w 240"/>
                <a:gd name="T3" fmla="*/ 192 h 162"/>
                <a:gd name="T4" fmla="*/ 100 w 240"/>
                <a:gd name="T5" fmla="*/ 155 h 162"/>
                <a:gd name="T6" fmla="*/ 10 w 240"/>
                <a:gd name="T7" fmla="*/ 76 h 162"/>
                <a:gd name="T8" fmla="*/ 16 w 240"/>
                <a:gd name="T9" fmla="*/ 41 h 162"/>
                <a:gd name="T10" fmla="*/ 61 w 240"/>
                <a:gd name="T11" fmla="*/ 0 h 162"/>
                <a:gd name="T12" fmla="*/ 118 w 240"/>
                <a:gd name="T13" fmla="*/ 15 h 162"/>
                <a:gd name="T14" fmla="*/ 100 w 240"/>
                <a:gd name="T15" fmla="*/ 46 h 162"/>
                <a:gd name="T16" fmla="*/ 169 w 240"/>
                <a:gd name="T17" fmla="*/ 35 h 162"/>
                <a:gd name="T18" fmla="*/ 275 w 240"/>
                <a:gd name="T19" fmla="*/ 63 h 162"/>
                <a:gd name="T20" fmla="*/ 344 w 240"/>
                <a:gd name="T21" fmla="*/ 41 h 162"/>
                <a:gd name="T22" fmla="*/ 460 w 240"/>
                <a:gd name="T23" fmla="*/ 63 h 162"/>
                <a:gd name="T24" fmla="*/ 606 w 240"/>
                <a:gd name="T25" fmla="*/ 15 h 162"/>
                <a:gd name="T26" fmla="*/ 686 w 240"/>
                <a:gd name="T27" fmla="*/ 0 h 162"/>
                <a:gd name="T28" fmla="*/ 749 w 240"/>
                <a:gd name="T29" fmla="*/ 26 h 162"/>
                <a:gd name="T30" fmla="*/ 869 w 240"/>
                <a:gd name="T31" fmla="*/ 63 h 162"/>
                <a:gd name="T32" fmla="*/ 911 w 240"/>
                <a:gd name="T33" fmla="*/ 88 h 162"/>
                <a:gd name="T34" fmla="*/ 888 w 240"/>
                <a:gd name="T35" fmla="*/ 105 h 162"/>
                <a:gd name="T36" fmla="*/ 850 w 240"/>
                <a:gd name="T37" fmla="*/ 115 h 162"/>
                <a:gd name="T38" fmla="*/ 819 w 240"/>
                <a:gd name="T39" fmla="*/ 192 h 162"/>
                <a:gd name="T40" fmla="*/ 789 w 240"/>
                <a:gd name="T41" fmla="*/ 209 h 162"/>
                <a:gd name="T42" fmla="*/ 763 w 240"/>
                <a:gd name="T43" fmla="*/ 246 h 162"/>
                <a:gd name="T44" fmla="*/ 804 w 240"/>
                <a:gd name="T45" fmla="*/ 257 h 162"/>
                <a:gd name="T46" fmla="*/ 826 w 240"/>
                <a:gd name="T47" fmla="*/ 287 h 162"/>
                <a:gd name="T48" fmla="*/ 743 w 240"/>
                <a:gd name="T49" fmla="*/ 302 h 162"/>
                <a:gd name="T50" fmla="*/ 673 w 240"/>
                <a:gd name="T51" fmla="*/ 297 h 162"/>
                <a:gd name="T52" fmla="*/ 595 w 240"/>
                <a:gd name="T53" fmla="*/ 344 h 162"/>
                <a:gd name="T54" fmla="*/ 549 w 240"/>
                <a:gd name="T55" fmla="*/ 352 h 162"/>
                <a:gd name="T56" fmla="*/ 549 w 240"/>
                <a:gd name="T57" fmla="*/ 390 h 162"/>
                <a:gd name="T58" fmla="*/ 451 w 240"/>
                <a:gd name="T59" fmla="*/ 408 h 162"/>
                <a:gd name="T60" fmla="*/ 314 w 240"/>
                <a:gd name="T61" fmla="*/ 366 h 162"/>
                <a:gd name="T62" fmla="*/ 224 w 240"/>
                <a:gd name="T63" fmla="*/ 381 h 162"/>
                <a:gd name="T64" fmla="*/ 94 w 240"/>
                <a:gd name="T65" fmla="*/ 399 h 162"/>
                <a:gd name="T66" fmla="*/ 100 w 240"/>
                <a:gd name="T67" fmla="*/ 366 h 162"/>
                <a:gd name="T68" fmla="*/ 86 w 240"/>
                <a:gd name="T69" fmla="*/ 313 h 162"/>
                <a:gd name="T70" fmla="*/ 16 w 240"/>
                <a:gd name="T71" fmla="*/ 273 h 162"/>
                <a:gd name="T72" fmla="*/ 10 w 240"/>
                <a:gd name="T73" fmla="*/ 253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40"/>
                <a:gd name="T112" fmla="*/ 0 h 162"/>
                <a:gd name="T113" fmla="*/ 240 w 240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40" h="162">
                  <a:moveTo>
                    <a:pt x="2" y="100"/>
                  </a:moveTo>
                  <a:lnTo>
                    <a:pt x="2" y="96"/>
                  </a:lnTo>
                  <a:lnTo>
                    <a:pt x="2" y="84"/>
                  </a:lnTo>
                  <a:lnTo>
                    <a:pt x="8" y="76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24" y="56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4" y="16"/>
                  </a:lnTo>
                  <a:lnTo>
                    <a:pt x="10" y="8"/>
                  </a:lnTo>
                  <a:lnTo>
                    <a:pt x="16" y="0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44" y="14"/>
                  </a:lnTo>
                  <a:lnTo>
                    <a:pt x="52" y="14"/>
                  </a:lnTo>
                  <a:lnTo>
                    <a:pt x="72" y="24"/>
                  </a:lnTo>
                  <a:lnTo>
                    <a:pt x="78" y="22"/>
                  </a:lnTo>
                  <a:lnTo>
                    <a:pt x="90" y="16"/>
                  </a:lnTo>
                  <a:lnTo>
                    <a:pt x="96" y="1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58" y="6"/>
                  </a:lnTo>
                  <a:lnTo>
                    <a:pt x="170" y="0"/>
                  </a:lnTo>
                  <a:lnTo>
                    <a:pt x="180" y="0"/>
                  </a:lnTo>
                  <a:lnTo>
                    <a:pt x="190" y="10"/>
                  </a:lnTo>
                  <a:lnTo>
                    <a:pt x="196" y="10"/>
                  </a:lnTo>
                  <a:lnTo>
                    <a:pt x="204" y="16"/>
                  </a:lnTo>
                  <a:lnTo>
                    <a:pt x="228" y="24"/>
                  </a:lnTo>
                  <a:lnTo>
                    <a:pt x="240" y="26"/>
                  </a:lnTo>
                  <a:lnTo>
                    <a:pt x="238" y="34"/>
                  </a:lnTo>
                  <a:lnTo>
                    <a:pt x="238" y="42"/>
                  </a:lnTo>
                  <a:lnTo>
                    <a:pt x="232" y="42"/>
                  </a:lnTo>
                  <a:lnTo>
                    <a:pt x="228" y="42"/>
                  </a:lnTo>
                  <a:lnTo>
                    <a:pt x="222" y="46"/>
                  </a:lnTo>
                  <a:lnTo>
                    <a:pt x="216" y="62"/>
                  </a:lnTo>
                  <a:lnTo>
                    <a:pt x="214" y="76"/>
                  </a:lnTo>
                  <a:lnTo>
                    <a:pt x="214" y="80"/>
                  </a:lnTo>
                  <a:lnTo>
                    <a:pt x="206" y="82"/>
                  </a:lnTo>
                  <a:lnTo>
                    <a:pt x="202" y="92"/>
                  </a:lnTo>
                  <a:lnTo>
                    <a:pt x="200" y="98"/>
                  </a:lnTo>
                  <a:lnTo>
                    <a:pt x="204" y="96"/>
                  </a:lnTo>
                  <a:lnTo>
                    <a:pt x="210" y="102"/>
                  </a:lnTo>
                  <a:lnTo>
                    <a:pt x="210" y="106"/>
                  </a:lnTo>
                  <a:lnTo>
                    <a:pt x="216" y="114"/>
                  </a:lnTo>
                  <a:lnTo>
                    <a:pt x="216" y="120"/>
                  </a:lnTo>
                  <a:lnTo>
                    <a:pt x="194" y="120"/>
                  </a:lnTo>
                  <a:lnTo>
                    <a:pt x="184" y="116"/>
                  </a:lnTo>
                  <a:lnTo>
                    <a:pt x="176" y="118"/>
                  </a:lnTo>
                  <a:lnTo>
                    <a:pt x="166" y="126"/>
                  </a:lnTo>
                  <a:lnTo>
                    <a:pt x="156" y="136"/>
                  </a:lnTo>
                  <a:lnTo>
                    <a:pt x="150" y="136"/>
                  </a:lnTo>
                  <a:lnTo>
                    <a:pt x="144" y="140"/>
                  </a:lnTo>
                  <a:lnTo>
                    <a:pt x="146" y="148"/>
                  </a:lnTo>
                  <a:lnTo>
                    <a:pt x="144" y="154"/>
                  </a:lnTo>
                  <a:lnTo>
                    <a:pt x="126" y="162"/>
                  </a:lnTo>
                  <a:lnTo>
                    <a:pt x="118" y="162"/>
                  </a:lnTo>
                  <a:lnTo>
                    <a:pt x="108" y="156"/>
                  </a:lnTo>
                  <a:lnTo>
                    <a:pt x="82" y="146"/>
                  </a:lnTo>
                  <a:lnTo>
                    <a:pt x="72" y="146"/>
                  </a:lnTo>
                  <a:lnTo>
                    <a:pt x="58" y="152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4" y="152"/>
                  </a:lnTo>
                  <a:lnTo>
                    <a:pt x="26" y="146"/>
                  </a:lnTo>
                  <a:lnTo>
                    <a:pt x="26" y="134"/>
                  </a:lnTo>
                  <a:lnTo>
                    <a:pt x="22" y="124"/>
                  </a:lnTo>
                  <a:lnTo>
                    <a:pt x="16" y="114"/>
                  </a:lnTo>
                  <a:lnTo>
                    <a:pt x="4" y="108"/>
                  </a:lnTo>
                  <a:lnTo>
                    <a:pt x="2" y="102"/>
                  </a:lnTo>
                  <a:lnTo>
                    <a:pt x="2" y="10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43">
              <a:extLst>
                <a:ext uri="{FF2B5EF4-FFF2-40B4-BE49-F238E27FC236}">
                  <a16:creationId xmlns:a16="http://schemas.microsoft.com/office/drawing/2014/main" id="{250CC0B9-046E-4706-8F00-8DA54358C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9750" y="5200650"/>
              <a:ext cx="109537" cy="234950"/>
            </a:xfrm>
            <a:custGeom>
              <a:avLst/>
              <a:gdLst>
                <a:gd name="T0" fmla="*/ 124 w 66"/>
                <a:gd name="T1" fmla="*/ 392 h 152"/>
                <a:gd name="T2" fmla="*/ 118 w 66"/>
                <a:gd name="T3" fmla="*/ 386 h 152"/>
                <a:gd name="T4" fmla="*/ 109 w 66"/>
                <a:gd name="T5" fmla="*/ 361 h 152"/>
                <a:gd name="T6" fmla="*/ 78 w 66"/>
                <a:gd name="T7" fmla="*/ 335 h 152"/>
                <a:gd name="T8" fmla="*/ 10 w 66"/>
                <a:gd name="T9" fmla="*/ 299 h 152"/>
                <a:gd name="T10" fmla="*/ 10 w 66"/>
                <a:gd name="T11" fmla="*/ 294 h 152"/>
                <a:gd name="T12" fmla="*/ 31 w 66"/>
                <a:gd name="T13" fmla="*/ 299 h 152"/>
                <a:gd name="T14" fmla="*/ 31 w 66"/>
                <a:gd name="T15" fmla="*/ 283 h 152"/>
                <a:gd name="T16" fmla="*/ 10 w 66"/>
                <a:gd name="T17" fmla="*/ 256 h 152"/>
                <a:gd name="T18" fmla="*/ 31 w 66"/>
                <a:gd name="T19" fmla="*/ 222 h 152"/>
                <a:gd name="T20" fmla="*/ 25 w 66"/>
                <a:gd name="T21" fmla="*/ 210 h 152"/>
                <a:gd name="T22" fmla="*/ 31 w 66"/>
                <a:gd name="T23" fmla="*/ 177 h 152"/>
                <a:gd name="T24" fmla="*/ 16 w 66"/>
                <a:gd name="T25" fmla="*/ 160 h 152"/>
                <a:gd name="T26" fmla="*/ 31 w 66"/>
                <a:gd name="T27" fmla="*/ 133 h 152"/>
                <a:gd name="T28" fmla="*/ 48 w 66"/>
                <a:gd name="T29" fmla="*/ 130 h 152"/>
                <a:gd name="T30" fmla="*/ 48 w 66"/>
                <a:gd name="T31" fmla="*/ 103 h 152"/>
                <a:gd name="T32" fmla="*/ 25 w 66"/>
                <a:gd name="T33" fmla="*/ 100 h 152"/>
                <a:gd name="T34" fmla="*/ 10 w 66"/>
                <a:gd name="T35" fmla="*/ 91 h 152"/>
                <a:gd name="T36" fmla="*/ 10 w 66"/>
                <a:gd name="T37" fmla="*/ 74 h 152"/>
                <a:gd name="T38" fmla="*/ 0 w 66"/>
                <a:gd name="T39" fmla="*/ 47 h 152"/>
                <a:gd name="T40" fmla="*/ 25 w 66"/>
                <a:gd name="T41" fmla="*/ 15 h 152"/>
                <a:gd name="T42" fmla="*/ 39 w 66"/>
                <a:gd name="T43" fmla="*/ 0 h 152"/>
                <a:gd name="T44" fmla="*/ 87 w 66"/>
                <a:gd name="T45" fmla="*/ 2 h 152"/>
                <a:gd name="T46" fmla="*/ 109 w 66"/>
                <a:gd name="T47" fmla="*/ 2 h 152"/>
                <a:gd name="T48" fmla="*/ 118 w 66"/>
                <a:gd name="T49" fmla="*/ 2 h 152"/>
                <a:gd name="T50" fmla="*/ 143 w 66"/>
                <a:gd name="T51" fmla="*/ 30 h 152"/>
                <a:gd name="T52" fmla="*/ 196 w 66"/>
                <a:gd name="T53" fmla="*/ 81 h 152"/>
                <a:gd name="T54" fmla="*/ 196 w 66"/>
                <a:gd name="T55" fmla="*/ 88 h 152"/>
                <a:gd name="T56" fmla="*/ 196 w 66"/>
                <a:gd name="T57" fmla="*/ 103 h 152"/>
                <a:gd name="T58" fmla="*/ 186 w 66"/>
                <a:gd name="T59" fmla="*/ 130 h 152"/>
                <a:gd name="T60" fmla="*/ 196 w 66"/>
                <a:gd name="T61" fmla="*/ 166 h 152"/>
                <a:gd name="T62" fmla="*/ 215 w 66"/>
                <a:gd name="T63" fmla="*/ 207 h 152"/>
                <a:gd name="T64" fmla="*/ 260 w 66"/>
                <a:gd name="T65" fmla="*/ 242 h 152"/>
                <a:gd name="T66" fmla="*/ 253 w 66"/>
                <a:gd name="T67" fmla="*/ 242 h 152"/>
                <a:gd name="T68" fmla="*/ 231 w 66"/>
                <a:gd name="T69" fmla="*/ 294 h 152"/>
                <a:gd name="T70" fmla="*/ 196 w 66"/>
                <a:gd name="T71" fmla="*/ 315 h 152"/>
                <a:gd name="T72" fmla="*/ 167 w 66"/>
                <a:gd name="T73" fmla="*/ 342 h 152"/>
                <a:gd name="T74" fmla="*/ 124 w 66"/>
                <a:gd name="T75" fmla="*/ 392 h 152"/>
                <a:gd name="T76" fmla="*/ 124 w 66"/>
                <a:gd name="T77" fmla="*/ 392 h 1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152"/>
                <a:gd name="T119" fmla="*/ 66 w 66"/>
                <a:gd name="T120" fmla="*/ 152 h 1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152">
                  <a:moveTo>
                    <a:pt x="32" y="152"/>
                  </a:moveTo>
                  <a:lnTo>
                    <a:pt x="30" y="150"/>
                  </a:lnTo>
                  <a:lnTo>
                    <a:pt x="28" y="140"/>
                  </a:lnTo>
                  <a:lnTo>
                    <a:pt x="20" y="130"/>
                  </a:lnTo>
                  <a:lnTo>
                    <a:pt x="2" y="116"/>
                  </a:lnTo>
                  <a:lnTo>
                    <a:pt x="2" y="114"/>
                  </a:lnTo>
                  <a:lnTo>
                    <a:pt x="8" y="116"/>
                  </a:lnTo>
                  <a:lnTo>
                    <a:pt x="8" y="110"/>
                  </a:lnTo>
                  <a:lnTo>
                    <a:pt x="2" y="100"/>
                  </a:lnTo>
                  <a:lnTo>
                    <a:pt x="8" y="86"/>
                  </a:lnTo>
                  <a:lnTo>
                    <a:pt x="6" y="82"/>
                  </a:lnTo>
                  <a:lnTo>
                    <a:pt x="8" y="68"/>
                  </a:lnTo>
                  <a:lnTo>
                    <a:pt x="4" y="62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0"/>
                  </a:lnTo>
                  <a:lnTo>
                    <a:pt x="6" y="38"/>
                  </a:lnTo>
                  <a:lnTo>
                    <a:pt x="2" y="36"/>
                  </a:lnTo>
                  <a:lnTo>
                    <a:pt x="2" y="2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0" y="0"/>
                  </a:lnTo>
                  <a:lnTo>
                    <a:pt x="22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6" y="12"/>
                  </a:lnTo>
                  <a:lnTo>
                    <a:pt x="50" y="32"/>
                  </a:lnTo>
                  <a:lnTo>
                    <a:pt x="50" y="34"/>
                  </a:lnTo>
                  <a:lnTo>
                    <a:pt x="50" y="40"/>
                  </a:lnTo>
                  <a:lnTo>
                    <a:pt x="48" y="50"/>
                  </a:lnTo>
                  <a:lnTo>
                    <a:pt x="50" y="64"/>
                  </a:lnTo>
                  <a:lnTo>
                    <a:pt x="54" y="80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58" y="114"/>
                  </a:lnTo>
                  <a:lnTo>
                    <a:pt x="50" y="122"/>
                  </a:lnTo>
                  <a:lnTo>
                    <a:pt x="42" y="132"/>
                  </a:lnTo>
                  <a:lnTo>
                    <a:pt x="32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44">
              <a:extLst>
                <a:ext uri="{FF2B5EF4-FFF2-40B4-BE49-F238E27FC236}">
                  <a16:creationId xmlns:a16="http://schemas.microsoft.com/office/drawing/2014/main" id="{6E0194AC-142F-4779-8C1A-9D17DD7A51A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2138" y="5273675"/>
              <a:ext cx="412750" cy="509587"/>
            </a:xfrm>
            <a:custGeom>
              <a:avLst/>
              <a:gdLst>
                <a:gd name="T0" fmla="*/ 577 w 250"/>
                <a:gd name="T1" fmla="*/ 826 h 328"/>
                <a:gd name="T2" fmla="*/ 500 w 250"/>
                <a:gd name="T3" fmla="*/ 784 h 328"/>
                <a:gd name="T4" fmla="*/ 535 w 250"/>
                <a:gd name="T5" fmla="*/ 772 h 328"/>
                <a:gd name="T6" fmla="*/ 577 w 250"/>
                <a:gd name="T7" fmla="*/ 779 h 328"/>
                <a:gd name="T8" fmla="*/ 585 w 250"/>
                <a:gd name="T9" fmla="*/ 790 h 328"/>
                <a:gd name="T10" fmla="*/ 632 w 250"/>
                <a:gd name="T11" fmla="*/ 808 h 328"/>
                <a:gd name="T12" fmla="*/ 779 w 250"/>
                <a:gd name="T13" fmla="*/ 817 h 328"/>
                <a:gd name="T14" fmla="*/ 831 w 250"/>
                <a:gd name="T15" fmla="*/ 838 h 328"/>
                <a:gd name="T16" fmla="*/ 890 w 250"/>
                <a:gd name="T17" fmla="*/ 822 h 328"/>
                <a:gd name="T18" fmla="*/ 856 w 250"/>
                <a:gd name="T19" fmla="*/ 847 h 328"/>
                <a:gd name="T20" fmla="*/ 0 w 250"/>
                <a:gd name="T21" fmla="*/ 277 h 328"/>
                <a:gd name="T22" fmla="*/ 133 w 250"/>
                <a:gd name="T23" fmla="*/ 124 h 328"/>
                <a:gd name="T24" fmla="*/ 303 w 250"/>
                <a:gd name="T25" fmla="*/ 77 h 328"/>
                <a:gd name="T26" fmla="*/ 537 w 250"/>
                <a:gd name="T27" fmla="*/ 42 h 328"/>
                <a:gd name="T28" fmla="*/ 801 w 250"/>
                <a:gd name="T29" fmla="*/ 68 h 328"/>
                <a:gd name="T30" fmla="*/ 916 w 250"/>
                <a:gd name="T31" fmla="*/ 0 h 328"/>
                <a:gd name="T32" fmla="*/ 890 w 250"/>
                <a:gd name="T33" fmla="*/ 101 h 328"/>
                <a:gd name="T34" fmla="*/ 722 w 250"/>
                <a:gd name="T35" fmla="*/ 94 h 328"/>
                <a:gd name="T36" fmla="*/ 646 w 250"/>
                <a:gd name="T37" fmla="*/ 89 h 328"/>
                <a:gd name="T38" fmla="*/ 535 w 250"/>
                <a:gd name="T39" fmla="*/ 117 h 328"/>
                <a:gd name="T40" fmla="*/ 562 w 250"/>
                <a:gd name="T41" fmla="*/ 164 h 328"/>
                <a:gd name="T42" fmla="*/ 562 w 250"/>
                <a:gd name="T43" fmla="*/ 171 h 328"/>
                <a:gd name="T44" fmla="*/ 523 w 250"/>
                <a:gd name="T45" fmla="*/ 189 h 328"/>
                <a:gd name="T46" fmla="*/ 537 w 250"/>
                <a:gd name="T47" fmla="*/ 221 h 328"/>
                <a:gd name="T48" fmla="*/ 471 w 250"/>
                <a:gd name="T49" fmla="*/ 189 h 328"/>
                <a:gd name="T50" fmla="*/ 500 w 250"/>
                <a:gd name="T51" fmla="*/ 221 h 328"/>
                <a:gd name="T52" fmla="*/ 461 w 250"/>
                <a:gd name="T53" fmla="*/ 227 h 328"/>
                <a:gd name="T54" fmla="*/ 387 w 250"/>
                <a:gd name="T55" fmla="*/ 156 h 328"/>
                <a:gd name="T56" fmla="*/ 379 w 250"/>
                <a:gd name="T57" fmla="*/ 141 h 328"/>
                <a:gd name="T58" fmla="*/ 353 w 250"/>
                <a:gd name="T59" fmla="*/ 208 h 328"/>
                <a:gd name="T60" fmla="*/ 439 w 250"/>
                <a:gd name="T61" fmla="*/ 298 h 328"/>
                <a:gd name="T62" fmla="*/ 429 w 250"/>
                <a:gd name="T63" fmla="*/ 316 h 328"/>
                <a:gd name="T64" fmla="*/ 392 w 250"/>
                <a:gd name="T65" fmla="*/ 325 h 328"/>
                <a:gd name="T66" fmla="*/ 363 w 250"/>
                <a:gd name="T67" fmla="*/ 366 h 328"/>
                <a:gd name="T68" fmla="*/ 447 w 250"/>
                <a:gd name="T69" fmla="*/ 393 h 328"/>
                <a:gd name="T70" fmla="*/ 523 w 250"/>
                <a:gd name="T71" fmla="*/ 435 h 328"/>
                <a:gd name="T72" fmla="*/ 568 w 250"/>
                <a:gd name="T73" fmla="*/ 509 h 328"/>
                <a:gd name="T74" fmla="*/ 500 w 250"/>
                <a:gd name="T75" fmla="*/ 477 h 328"/>
                <a:gd name="T76" fmla="*/ 411 w 250"/>
                <a:gd name="T77" fmla="*/ 492 h 328"/>
                <a:gd name="T78" fmla="*/ 454 w 250"/>
                <a:gd name="T79" fmla="*/ 528 h 328"/>
                <a:gd name="T80" fmla="*/ 454 w 250"/>
                <a:gd name="T81" fmla="*/ 560 h 328"/>
                <a:gd name="T82" fmla="*/ 387 w 250"/>
                <a:gd name="T83" fmla="*/ 539 h 328"/>
                <a:gd name="T84" fmla="*/ 392 w 250"/>
                <a:gd name="T85" fmla="*/ 587 h 328"/>
                <a:gd name="T86" fmla="*/ 332 w 250"/>
                <a:gd name="T87" fmla="*/ 664 h 328"/>
                <a:gd name="T88" fmla="*/ 209 w 250"/>
                <a:gd name="T89" fmla="*/ 589 h 328"/>
                <a:gd name="T90" fmla="*/ 163 w 250"/>
                <a:gd name="T91" fmla="*/ 501 h 328"/>
                <a:gd name="T92" fmla="*/ 278 w 250"/>
                <a:gd name="T93" fmla="*/ 446 h 328"/>
                <a:gd name="T94" fmla="*/ 411 w 250"/>
                <a:gd name="T95" fmla="*/ 450 h 328"/>
                <a:gd name="T96" fmla="*/ 155 w 250"/>
                <a:gd name="T97" fmla="*/ 435 h 328"/>
                <a:gd name="T98" fmla="*/ 155 w 250"/>
                <a:gd name="T99" fmla="*/ 350 h 328"/>
                <a:gd name="T100" fmla="*/ 0 w 250"/>
                <a:gd name="T101" fmla="*/ 277 h 32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0"/>
                <a:gd name="T154" fmla="*/ 0 h 328"/>
                <a:gd name="T155" fmla="*/ 250 w 250"/>
                <a:gd name="T156" fmla="*/ 328 h 32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0" h="328">
                  <a:moveTo>
                    <a:pt x="174" y="328"/>
                  </a:moveTo>
                  <a:lnTo>
                    <a:pt x="176" y="324"/>
                  </a:lnTo>
                  <a:lnTo>
                    <a:pt x="174" y="322"/>
                  </a:lnTo>
                  <a:lnTo>
                    <a:pt x="162" y="316"/>
                  </a:lnTo>
                  <a:lnTo>
                    <a:pt x="150" y="316"/>
                  </a:lnTo>
                  <a:lnTo>
                    <a:pt x="140" y="314"/>
                  </a:lnTo>
                  <a:lnTo>
                    <a:pt x="132" y="314"/>
                  </a:lnTo>
                  <a:lnTo>
                    <a:pt x="130" y="314"/>
                  </a:lnTo>
                  <a:lnTo>
                    <a:pt x="128" y="312"/>
                  </a:lnTo>
                  <a:lnTo>
                    <a:pt x="130" y="300"/>
                  </a:lnTo>
                  <a:lnTo>
                    <a:pt x="136" y="300"/>
                  </a:lnTo>
                  <a:lnTo>
                    <a:pt x="136" y="298"/>
                  </a:lnTo>
                  <a:lnTo>
                    <a:pt x="136" y="294"/>
                  </a:lnTo>
                  <a:lnTo>
                    <a:pt x="138" y="292"/>
                  </a:lnTo>
                  <a:lnTo>
                    <a:pt x="138" y="296"/>
                  </a:lnTo>
                  <a:lnTo>
                    <a:pt x="138" y="300"/>
                  </a:lnTo>
                  <a:lnTo>
                    <a:pt x="144" y="300"/>
                  </a:lnTo>
                  <a:lnTo>
                    <a:pt x="146" y="302"/>
                  </a:lnTo>
                  <a:lnTo>
                    <a:pt x="150" y="300"/>
                  </a:lnTo>
                  <a:lnTo>
                    <a:pt x="150" y="298"/>
                  </a:lnTo>
                  <a:lnTo>
                    <a:pt x="152" y="298"/>
                  </a:lnTo>
                  <a:lnTo>
                    <a:pt x="154" y="300"/>
                  </a:lnTo>
                  <a:lnTo>
                    <a:pt x="154" y="302"/>
                  </a:lnTo>
                  <a:lnTo>
                    <a:pt x="152" y="302"/>
                  </a:lnTo>
                  <a:lnTo>
                    <a:pt x="152" y="304"/>
                  </a:lnTo>
                  <a:lnTo>
                    <a:pt x="156" y="304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8" y="306"/>
                  </a:lnTo>
                  <a:lnTo>
                    <a:pt x="186" y="306"/>
                  </a:lnTo>
                  <a:lnTo>
                    <a:pt x="188" y="308"/>
                  </a:lnTo>
                  <a:lnTo>
                    <a:pt x="190" y="310"/>
                  </a:lnTo>
                  <a:lnTo>
                    <a:pt x="202" y="312"/>
                  </a:lnTo>
                  <a:lnTo>
                    <a:pt x="206" y="312"/>
                  </a:lnTo>
                  <a:lnTo>
                    <a:pt x="212" y="310"/>
                  </a:lnTo>
                  <a:lnTo>
                    <a:pt x="214" y="310"/>
                  </a:lnTo>
                  <a:lnTo>
                    <a:pt x="212" y="318"/>
                  </a:lnTo>
                  <a:lnTo>
                    <a:pt x="216" y="320"/>
                  </a:lnTo>
                  <a:lnTo>
                    <a:pt x="218" y="320"/>
                  </a:lnTo>
                  <a:lnTo>
                    <a:pt x="224" y="316"/>
                  </a:lnTo>
                  <a:lnTo>
                    <a:pt x="228" y="314"/>
                  </a:lnTo>
                  <a:lnTo>
                    <a:pt x="230" y="316"/>
                  </a:lnTo>
                  <a:lnTo>
                    <a:pt x="232" y="314"/>
                  </a:lnTo>
                  <a:lnTo>
                    <a:pt x="236" y="312"/>
                  </a:lnTo>
                  <a:lnTo>
                    <a:pt x="234" y="316"/>
                  </a:lnTo>
                  <a:lnTo>
                    <a:pt x="234" y="320"/>
                  </a:lnTo>
                  <a:lnTo>
                    <a:pt x="232" y="324"/>
                  </a:lnTo>
                  <a:lnTo>
                    <a:pt x="222" y="324"/>
                  </a:lnTo>
                  <a:lnTo>
                    <a:pt x="216" y="326"/>
                  </a:lnTo>
                  <a:lnTo>
                    <a:pt x="210" y="326"/>
                  </a:lnTo>
                  <a:lnTo>
                    <a:pt x="174" y="328"/>
                  </a:lnTo>
                  <a:close/>
                  <a:moveTo>
                    <a:pt x="0" y="106"/>
                  </a:moveTo>
                  <a:lnTo>
                    <a:pt x="10" y="86"/>
                  </a:lnTo>
                  <a:lnTo>
                    <a:pt x="18" y="76"/>
                  </a:lnTo>
                  <a:lnTo>
                    <a:pt x="26" y="68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48" y="46"/>
                  </a:lnTo>
                  <a:lnTo>
                    <a:pt x="58" y="42"/>
                  </a:lnTo>
                  <a:lnTo>
                    <a:pt x="66" y="32"/>
                  </a:lnTo>
                  <a:lnTo>
                    <a:pt x="72" y="28"/>
                  </a:lnTo>
                  <a:lnTo>
                    <a:pt x="78" y="30"/>
                  </a:lnTo>
                  <a:lnTo>
                    <a:pt x="90" y="30"/>
                  </a:lnTo>
                  <a:lnTo>
                    <a:pt x="98" y="26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40" y="16"/>
                  </a:lnTo>
                  <a:lnTo>
                    <a:pt x="154" y="10"/>
                  </a:lnTo>
                  <a:lnTo>
                    <a:pt x="164" y="10"/>
                  </a:lnTo>
                  <a:lnTo>
                    <a:pt x="190" y="20"/>
                  </a:lnTo>
                  <a:lnTo>
                    <a:pt x="200" y="26"/>
                  </a:lnTo>
                  <a:lnTo>
                    <a:pt x="208" y="26"/>
                  </a:lnTo>
                  <a:lnTo>
                    <a:pt x="226" y="18"/>
                  </a:lnTo>
                  <a:lnTo>
                    <a:pt x="228" y="12"/>
                  </a:lnTo>
                  <a:lnTo>
                    <a:pt x="226" y="4"/>
                  </a:lnTo>
                  <a:lnTo>
                    <a:pt x="232" y="0"/>
                  </a:lnTo>
                  <a:lnTo>
                    <a:pt x="238" y="0"/>
                  </a:lnTo>
                  <a:lnTo>
                    <a:pt x="240" y="0"/>
                  </a:lnTo>
                  <a:lnTo>
                    <a:pt x="248" y="6"/>
                  </a:lnTo>
                  <a:lnTo>
                    <a:pt x="250" y="10"/>
                  </a:lnTo>
                  <a:lnTo>
                    <a:pt x="238" y="26"/>
                  </a:lnTo>
                  <a:lnTo>
                    <a:pt x="232" y="38"/>
                  </a:lnTo>
                  <a:lnTo>
                    <a:pt x="226" y="50"/>
                  </a:lnTo>
                  <a:lnTo>
                    <a:pt x="224" y="40"/>
                  </a:lnTo>
                  <a:lnTo>
                    <a:pt x="212" y="40"/>
                  </a:lnTo>
                  <a:lnTo>
                    <a:pt x="198" y="38"/>
                  </a:lnTo>
                  <a:lnTo>
                    <a:pt x="188" y="36"/>
                  </a:lnTo>
                  <a:lnTo>
                    <a:pt x="188" y="32"/>
                  </a:lnTo>
                  <a:lnTo>
                    <a:pt x="180" y="36"/>
                  </a:lnTo>
                  <a:lnTo>
                    <a:pt x="176" y="40"/>
                  </a:lnTo>
                  <a:lnTo>
                    <a:pt x="168" y="40"/>
                  </a:lnTo>
                  <a:lnTo>
                    <a:pt x="168" y="34"/>
                  </a:lnTo>
                  <a:lnTo>
                    <a:pt x="162" y="34"/>
                  </a:lnTo>
                  <a:lnTo>
                    <a:pt x="156" y="42"/>
                  </a:lnTo>
                  <a:lnTo>
                    <a:pt x="150" y="46"/>
                  </a:lnTo>
                  <a:lnTo>
                    <a:pt x="144" y="48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4" y="48"/>
                  </a:lnTo>
                  <a:lnTo>
                    <a:pt x="138" y="52"/>
                  </a:lnTo>
                  <a:lnTo>
                    <a:pt x="140" y="60"/>
                  </a:lnTo>
                  <a:lnTo>
                    <a:pt x="146" y="62"/>
                  </a:lnTo>
                  <a:lnTo>
                    <a:pt x="160" y="74"/>
                  </a:lnTo>
                  <a:lnTo>
                    <a:pt x="156" y="76"/>
                  </a:lnTo>
                  <a:lnTo>
                    <a:pt x="150" y="70"/>
                  </a:lnTo>
                  <a:lnTo>
                    <a:pt x="150" y="68"/>
                  </a:lnTo>
                  <a:lnTo>
                    <a:pt x="146" y="66"/>
                  </a:lnTo>
                  <a:lnTo>
                    <a:pt x="140" y="64"/>
                  </a:lnTo>
                  <a:lnTo>
                    <a:pt x="138" y="66"/>
                  </a:lnTo>
                  <a:lnTo>
                    <a:pt x="134" y="66"/>
                  </a:lnTo>
                  <a:lnTo>
                    <a:pt x="136" y="70"/>
                  </a:lnTo>
                  <a:lnTo>
                    <a:pt x="136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6" y="82"/>
                  </a:lnTo>
                  <a:lnTo>
                    <a:pt x="144" y="84"/>
                  </a:lnTo>
                  <a:lnTo>
                    <a:pt x="140" y="84"/>
                  </a:lnTo>
                  <a:lnTo>
                    <a:pt x="132" y="74"/>
                  </a:lnTo>
                  <a:lnTo>
                    <a:pt x="126" y="72"/>
                  </a:lnTo>
                  <a:lnTo>
                    <a:pt x="124" y="70"/>
                  </a:lnTo>
                  <a:lnTo>
                    <a:pt x="122" y="70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22" y="76"/>
                  </a:lnTo>
                  <a:lnTo>
                    <a:pt x="124" y="78"/>
                  </a:lnTo>
                  <a:lnTo>
                    <a:pt x="126" y="82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4" y="86"/>
                  </a:lnTo>
                  <a:lnTo>
                    <a:pt x="134" y="88"/>
                  </a:lnTo>
                  <a:lnTo>
                    <a:pt x="124" y="86"/>
                  </a:lnTo>
                  <a:lnTo>
                    <a:pt x="120" y="86"/>
                  </a:lnTo>
                  <a:lnTo>
                    <a:pt x="120" y="82"/>
                  </a:lnTo>
                  <a:lnTo>
                    <a:pt x="118" y="74"/>
                  </a:lnTo>
                  <a:lnTo>
                    <a:pt x="116" y="70"/>
                  </a:lnTo>
                  <a:lnTo>
                    <a:pt x="108" y="68"/>
                  </a:lnTo>
                  <a:lnTo>
                    <a:pt x="100" y="60"/>
                  </a:lnTo>
                  <a:lnTo>
                    <a:pt x="104" y="56"/>
                  </a:lnTo>
                  <a:lnTo>
                    <a:pt x="106" y="54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98" y="54"/>
                  </a:lnTo>
                  <a:lnTo>
                    <a:pt x="90" y="58"/>
                  </a:lnTo>
                  <a:lnTo>
                    <a:pt x="94" y="64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98" y="92"/>
                  </a:lnTo>
                  <a:lnTo>
                    <a:pt x="100" y="94"/>
                  </a:lnTo>
                  <a:lnTo>
                    <a:pt x="102" y="104"/>
                  </a:lnTo>
                  <a:lnTo>
                    <a:pt x="114" y="114"/>
                  </a:lnTo>
                  <a:lnTo>
                    <a:pt x="120" y="124"/>
                  </a:lnTo>
                  <a:lnTo>
                    <a:pt x="116" y="126"/>
                  </a:lnTo>
                  <a:lnTo>
                    <a:pt x="112" y="128"/>
                  </a:lnTo>
                  <a:lnTo>
                    <a:pt x="114" y="124"/>
                  </a:lnTo>
                  <a:lnTo>
                    <a:pt x="112" y="120"/>
                  </a:lnTo>
                  <a:lnTo>
                    <a:pt x="110" y="118"/>
                  </a:lnTo>
                  <a:lnTo>
                    <a:pt x="106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2" y="124"/>
                  </a:lnTo>
                  <a:lnTo>
                    <a:pt x="104" y="126"/>
                  </a:lnTo>
                  <a:lnTo>
                    <a:pt x="106" y="132"/>
                  </a:lnTo>
                  <a:lnTo>
                    <a:pt x="102" y="136"/>
                  </a:lnTo>
                  <a:lnTo>
                    <a:pt x="90" y="140"/>
                  </a:lnTo>
                  <a:lnTo>
                    <a:pt x="94" y="140"/>
                  </a:lnTo>
                  <a:lnTo>
                    <a:pt x="100" y="144"/>
                  </a:lnTo>
                  <a:lnTo>
                    <a:pt x="106" y="146"/>
                  </a:lnTo>
                  <a:lnTo>
                    <a:pt x="110" y="150"/>
                  </a:lnTo>
                  <a:lnTo>
                    <a:pt x="114" y="150"/>
                  </a:lnTo>
                  <a:lnTo>
                    <a:pt x="116" y="150"/>
                  </a:lnTo>
                  <a:lnTo>
                    <a:pt x="118" y="152"/>
                  </a:lnTo>
                  <a:lnTo>
                    <a:pt x="124" y="160"/>
                  </a:lnTo>
                  <a:lnTo>
                    <a:pt x="128" y="160"/>
                  </a:lnTo>
                  <a:lnTo>
                    <a:pt x="132" y="166"/>
                  </a:lnTo>
                  <a:lnTo>
                    <a:pt x="136" y="166"/>
                  </a:lnTo>
                  <a:lnTo>
                    <a:pt x="140" y="166"/>
                  </a:lnTo>
                  <a:lnTo>
                    <a:pt x="148" y="172"/>
                  </a:lnTo>
                  <a:lnTo>
                    <a:pt x="148" y="176"/>
                  </a:lnTo>
                  <a:lnTo>
                    <a:pt x="144" y="178"/>
                  </a:lnTo>
                  <a:lnTo>
                    <a:pt x="148" y="194"/>
                  </a:lnTo>
                  <a:lnTo>
                    <a:pt x="146" y="198"/>
                  </a:lnTo>
                  <a:lnTo>
                    <a:pt x="142" y="198"/>
                  </a:lnTo>
                  <a:lnTo>
                    <a:pt x="138" y="190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8" y="180"/>
                  </a:lnTo>
                  <a:lnTo>
                    <a:pt x="126" y="180"/>
                  </a:lnTo>
                  <a:lnTo>
                    <a:pt x="118" y="182"/>
                  </a:lnTo>
                  <a:lnTo>
                    <a:pt x="110" y="184"/>
                  </a:lnTo>
                  <a:lnTo>
                    <a:pt x="106" y="188"/>
                  </a:lnTo>
                  <a:lnTo>
                    <a:pt x="112" y="190"/>
                  </a:lnTo>
                  <a:lnTo>
                    <a:pt x="112" y="194"/>
                  </a:lnTo>
                  <a:lnTo>
                    <a:pt x="112" y="200"/>
                  </a:lnTo>
                  <a:lnTo>
                    <a:pt x="116" y="202"/>
                  </a:lnTo>
                  <a:lnTo>
                    <a:pt x="118" y="202"/>
                  </a:lnTo>
                  <a:lnTo>
                    <a:pt x="122" y="200"/>
                  </a:lnTo>
                  <a:lnTo>
                    <a:pt x="122" y="204"/>
                  </a:lnTo>
                  <a:lnTo>
                    <a:pt x="126" y="208"/>
                  </a:lnTo>
                  <a:lnTo>
                    <a:pt x="118" y="210"/>
                  </a:lnTo>
                  <a:lnTo>
                    <a:pt x="118" y="214"/>
                  </a:lnTo>
                  <a:lnTo>
                    <a:pt x="114" y="214"/>
                  </a:lnTo>
                  <a:lnTo>
                    <a:pt x="110" y="212"/>
                  </a:lnTo>
                  <a:lnTo>
                    <a:pt x="112" y="208"/>
                  </a:lnTo>
                  <a:lnTo>
                    <a:pt x="108" y="206"/>
                  </a:lnTo>
                  <a:lnTo>
                    <a:pt x="100" y="206"/>
                  </a:lnTo>
                  <a:lnTo>
                    <a:pt x="96" y="202"/>
                  </a:lnTo>
                  <a:lnTo>
                    <a:pt x="96" y="208"/>
                  </a:lnTo>
                  <a:lnTo>
                    <a:pt x="100" y="218"/>
                  </a:lnTo>
                  <a:lnTo>
                    <a:pt x="102" y="220"/>
                  </a:lnTo>
                  <a:lnTo>
                    <a:pt x="102" y="224"/>
                  </a:lnTo>
                  <a:lnTo>
                    <a:pt x="106" y="228"/>
                  </a:lnTo>
                  <a:lnTo>
                    <a:pt x="110" y="250"/>
                  </a:lnTo>
                  <a:lnTo>
                    <a:pt x="98" y="244"/>
                  </a:lnTo>
                  <a:lnTo>
                    <a:pt x="92" y="244"/>
                  </a:lnTo>
                  <a:lnTo>
                    <a:pt x="86" y="254"/>
                  </a:lnTo>
                  <a:lnTo>
                    <a:pt x="78" y="238"/>
                  </a:lnTo>
                  <a:lnTo>
                    <a:pt x="72" y="230"/>
                  </a:lnTo>
                  <a:lnTo>
                    <a:pt x="64" y="240"/>
                  </a:lnTo>
                  <a:lnTo>
                    <a:pt x="56" y="232"/>
                  </a:lnTo>
                  <a:lnTo>
                    <a:pt x="54" y="226"/>
                  </a:lnTo>
                  <a:lnTo>
                    <a:pt x="58" y="216"/>
                  </a:lnTo>
                  <a:lnTo>
                    <a:pt x="56" y="212"/>
                  </a:lnTo>
                  <a:lnTo>
                    <a:pt x="54" y="206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88"/>
                  </a:lnTo>
                  <a:lnTo>
                    <a:pt x="50" y="174"/>
                  </a:lnTo>
                  <a:lnTo>
                    <a:pt x="60" y="176"/>
                  </a:lnTo>
                  <a:lnTo>
                    <a:pt x="68" y="170"/>
                  </a:lnTo>
                  <a:lnTo>
                    <a:pt x="72" y="170"/>
                  </a:lnTo>
                  <a:lnTo>
                    <a:pt x="100" y="184"/>
                  </a:lnTo>
                  <a:lnTo>
                    <a:pt x="106" y="184"/>
                  </a:lnTo>
                  <a:lnTo>
                    <a:pt x="114" y="174"/>
                  </a:lnTo>
                  <a:lnTo>
                    <a:pt x="110" y="174"/>
                  </a:lnTo>
                  <a:lnTo>
                    <a:pt x="106" y="172"/>
                  </a:lnTo>
                  <a:lnTo>
                    <a:pt x="84" y="162"/>
                  </a:lnTo>
                  <a:lnTo>
                    <a:pt x="66" y="160"/>
                  </a:lnTo>
                  <a:lnTo>
                    <a:pt x="58" y="162"/>
                  </a:lnTo>
                  <a:lnTo>
                    <a:pt x="48" y="162"/>
                  </a:lnTo>
                  <a:lnTo>
                    <a:pt x="40" y="166"/>
                  </a:lnTo>
                  <a:lnTo>
                    <a:pt x="24" y="142"/>
                  </a:lnTo>
                  <a:lnTo>
                    <a:pt x="30" y="138"/>
                  </a:lnTo>
                  <a:lnTo>
                    <a:pt x="34" y="140"/>
                  </a:lnTo>
                  <a:lnTo>
                    <a:pt x="38" y="138"/>
                  </a:lnTo>
                  <a:lnTo>
                    <a:pt x="40" y="134"/>
                  </a:lnTo>
                  <a:lnTo>
                    <a:pt x="34" y="128"/>
                  </a:lnTo>
                  <a:lnTo>
                    <a:pt x="30" y="130"/>
                  </a:lnTo>
                  <a:lnTo>
                    <a:pt x="20" y="130"/>
                  </a:lnTo>
                  <a:lnTo>
                    <a:pt x="4" y="114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45">
              <a:extLst>
                <a:ext uri="{FF2B5EF4-FFF2-40B4-BE49-F238E27FC236}">
                  <a16:creationId xmlns:a16="http://schemas.microsoft.com/office/drawing/2014/main" id="{8630AEEA-BDF2-4B7A-934D-EB7432F84D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8900" y="5730875"/>
              <a:ext cx="144462" cy="82550"/>
            </a:xfrm>
            <a:custGeom>
              <a:avLst/>
              <a:gdLst>
                <a:gd name="T0" fmla="*/ 224 w 88"/>
                <a:gd name="T1" fmla="*/ 60 h 52"/>
                <a:gd name="T2" fmla="*/ 224 w 88"/>
                <a:gd name="T3" fmla="*/ 72 h 52"/>
                <a:gd name="T4" fmla="*/ 245 w 88"/>
                <a:gd name="T5" fmla="*/ 91 h 52"/>
                <a:gd name="T6" fmla="*/ 224 w 88"/>
                <a:gd name="T7" fmla="*/ 91 h 52"/>
                <a:gd name="T8" fmla="*/ 217 w 88"/>
                <a:gd name="T9" fmla="*/ 98 h 52"/>
                <a:gd name="T10" fmla="*/ 208 w 88"/>
                <a:gd name="T11" fmla="*/ 91 h 52"/>
                <a:gd name="T12" fmla="*/ 186 w 88"/>
                <a:gd name="T13" fmla="*/ 91 h 52"/>
                <a:gd name="T14" fmla="*/ 181 w 88"/>
                <a:gd name="T15" fmla="*/ 116 h 52"/>
                <a:gd name="T16" fmla="*/ 136 w 88"/>
                <a:gd name="T17" fmla="*/ 125 h 52"/>
                <a:gd name="T18" fmla="*/ 109 w 88"/>
                <a:gd name="T19" fmla="*/ 134 h 52"/>
                <a:gd name="T20" fmla="*/ 102 w 88"/>
                <a:gd name="T21" fmla="*/ 134 h 52"/>
                <a:gd name="T22" fmla="*/ 102 w 88"/>
                <a:gd name="T23" fmla="*/ 149 h 52"/>
                <a:gd name="T24" fmla="*/ 95 w 88"/>
                <a:gd name="T25" fmla="*/ 149 h 52"/>
                <a:gd name="T26" fmla="*/ 88 w 88"/>
                <a:gd name="T27" fmla="*/ 138 h 52"/>
                <a:gd name="T28" fmla="*/ 58 w 88"/>
                <a:gd name="T29" fmla="*/ 138 h 52"/>
                <a:gd name="T30" fmla="*/ 30 w 88"/>
                <a:gd name="T31" fmla="*/ 125 h 52"/>
                <a:gd name="T32" fmla="*/ 14 w 88"/>
                <a:gd name="T33" fmla="*/ 125 h 52"/>
                <a:gd name="T34" fmla="*/ 14 w 88"/>
                <a:gd name="T35" fmla="*/ 109 h 52"/>
                <a:gd name="T36" fmla="*/ 2 w 88"/>
                <a:gd name="T37" fmla="*/ 104 h 52"/>
                <a:gd name="T38" fmla="*/ 0 w 88"/>
                <a:gd name="T39" fmla="*/ 80 h 52"/>
                <a:gd name="T40" fmla="*/ 0 w 88"/>
                <a:gd name="T41" fmla="*/ 80 h 52"/>
                <a:gd name="T42" fmla="*/ 2 w 88"/>
                <a:gd name="T43" fmla="*/ 87 h 52"/>
                <a:gd name="T44" fmla="*/ 14 w 88"/>
                <a:gd name="T45" fmla="*/ 87 h 52"/>
                <a:gd name="T46" fmla="*/ 46 w 88"/>
                <a:gd name="T47" fmla="*/ 62 h 52"/>
                <a:gd name="T48" fmla="*/ 58 w 88"/>
                <a:gd name="T49" fmla="*/ 62 h 52"/>
                <a:gd name="T50" fmla="*/ 78 w 88"/>
                <a:gd name="T51" fmla="*/ 72 h 52"/>
                <a:gd name="T52" fmla="*/ 88 w 88"/>
                <a:gd name="T53" fmla="*/ 62 h 52"/>
                <a:gd name="T54" fmla="*/ 95 w 88"/>
                <a:gd name="T55" fmla="*/ 45 h 52"/>
                <a:gd name="T56" fmla="*/ 88 w 88"/>
                <a:gd name="T57" fmla="*/ 42 h 52"/>
                <a:gd name="T58" fmla="*/ 121 w 88"/>
                <a:gd name="T59" fmla="*/ 45 h 52"/>
                <a:gd name="T60" fmla="*/ 167 w 88"/>
                <a:gd name="T61" fmla="*/ 45 h 52"/>
                <a:gd name="T62" fmla="*/ 186 w 88"/>
                <a:gd name="T63" fmla="*/ 42 h 52"/>
                <a:gd name="T64" fmla="*/ 239 w 88"/>
                <a:gd name="T65" fmla="*/ 29 h 52"/>
                <a:gd name="T66" fmla="*/ 284 w 88"/>
                <a:gd name="T67" fmla="*/ 12 h 52"/>
                <a:gd name="T68" fmla="*/ 317 w 88"/>
                <a:gd name="T69" fmla="*/ 0 h 52"/>
                <a:gd name="T70" fmla="*/ 289 w 88"/>
                <a:gd name="T71" fmla="*/ 17 h 52"/>
                <a:gd name="T72" fmla="*/ 258 w 88"/>
                <a:gd name="T73" fmla="*/ 29 h 52"/>
                <a:gd name="T74" fmla="*/ 224 w 88"/>
                <a:gd name="T75" fmla="*/ 60 h 52"/>
                <a:gd name="T76" fmla="*/ 224 w 88"/>
                <a:gd name="T77" fmla="*/ 60 h 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8"/>
                <a:gd name="T118" fmla="*/ 0 h 52"/>
                <a:gd name="T119" fmla="*/ 88 w 88"/>
                <a:gd name="T120" fmla="*/ 52 h 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8" h="52">
                  <a:moveTo>
                    <a:pt x="62" y="20"/>
                  </a:moveTo>
                  <a:lnTo>
                    <a:pt x="62" y="24"/>
                  </a:lnTo>
                  <a:lnTo>
                    <a:pt x="68" y="32"/>
                  </a:lnTo>
                  <a:lnTo>
                    <a:pt x="62" y="32"/>
                  </a:lnTo>
                  <a:lnTo>
                    <a:pt x="60" y="34"/>
                  </a:lnTo>
                  <a:lnTo>
                    <a:pt x="58" y="32"/>
                  </a:lnTo>
                  <a:lnTo>
                    <a:pt x="52" y="32"/>
                  </a:lnTo>
                  <a:lnTo>
                    <a:pt x="50" y="40"/>
                  </a:lnTo>
                  <a:lnTo>
                    <a:pt x="38" y="44"/>
                  </a:lnTo>
                  <a:lnTo>
                    <a:pt x="30" y="46"/>
                  </a:lnTo>
                  <a:lnTo>
                    <a:pt x="28" y="46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38"/>
                  </a:lnTo>
                  <a:lnTo>
                    <a:pt x="2" y="36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22" y="24"/>
                  </a:lnTo>
                  <a:lnTo>
                    <a:pt x="24" y="22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34" y="16"/>
                  </a:lnTo>
                  <a:lnTo>
                    <a:pt x="46" y="16"/>
                  </a:lnTo>
                  <a:lnTo>
                    <a:pt x="52" y="14"/>
                  </a:lnTo>
                  <a:lnTo>
                    <a:pt x="66" y="10"/>
                  </a:lnTo>
                  <a:lnTo>
                    <a:pt x="78" y="4"/>
                  </a:lnTo>
                  <a:lnTo>
                    <a:pt x="88" y="0"/>
                  </a:lnTo>
                  <a:lnTo>
                    <a:pt x="80" y="6"/>
                  </a:lnTo>
                  <a:lnTo>
                    <a:pt x="72" y="10"/>
                  </a:lnTo>
                  <a:lnTo>
                    <a:pt x="62" y="2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47">
              <a:extLst>
                <a:ext uri="{FF2B5EF4-FFF2-40B4-BE49-F238E27FC236}">
                  <a16:creationId xmlns:a16="http://schemas.microsoft.com/office/drawing/2014/main" id="{0BC063E4-BCA3-4C89-B115-232ED07CDF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5675" y="4073525"/>
              <a:ext cx="582612" cy="725487"/>
            </a:xfrm>
            <a:custGeom>
              <a:avLst/>
              <a:gdLst>
                <a:gd name="T0" fmla="*/ 245 w 350"/>
                <a:gd name="T1" fmla="*/ 1071 h 468"/>
                <a:gd name="T2" fmla="*/ 302 w 350"/>
                <a:gd name="T3" fmla="*/ 945 h 468"/>
                <a:gd name="T4" fmla="*/ 214 w 350"/>
                <a:gd name="T5" fmla="*/ 929 h 468"/>
                <a:gd name="T6" fmla="*/ 78 w 350"/>
                <a:gd name="T7" fmla="*/ 889 h 468"/>
                <a:gd name="T8" fmla="*/ 31 w 350"/>
                <a:gd name="T9" fmla="*/ 802 h 468"/>
                <a:gd name="T10" fmla="*/ 16 w 350"/>
                <a:gd name="T11" fmla="*/ 684 h 468"/>
                <a:gd name="T12" fmla="*/ 25 w 350"/>
                <a:gd name="T13" fmla="*/ 635 h 468"/>
                <a:gd name="T14" fmla="*/ 39 w 350"/>
                <a:gd name="T15" fmla="*/ 562 h 468"/>
                <a:gd name="T16" fmla="*/ 48 w 350"/>
                <a:gd name="T17" fmla="*/ 506 h 468"/>
                <a:gd name="T18" fmla="*/ 172 w 350"/>
                <a:gd name="T19" fmla="*/ 452 h 468"/>
                <a:gd name="T20" fmla="*/ 124 w 350"/>
                <a:gd name="T21" fmla="*/ 396 h 468"/>
                <a:gd name="T22" fmla="*/ 186 w 350"/>
                <a:gd name="T23" fmla="*/ 299 h 468"/>
                <a:gd name="T24" fmla="*/ 214 w 350"/>
                <a:gd name="T25" fmla="*/ 227 h 468"/>
                <a:gd name="T26" fmla="*/ 322 w 350"/>
                <a:gd name="T27" fmla="*/ 262 h 468"/>
                <a:gd name="T28" fmla="*/ 365 w 350"/>
                <a:gd name="T29" fmla="*/ 238 h 468"/>
                <a:gd name="T30" fmla="*/ 488 w 350"/>
                <a:gd name="T31" fmla="*/ 196 h 468"/>
                <a:gd name="T32" fmla="*/ 431 w 350"/>
                <a:gd name="T33" fmla="*/ 133 h 468"/>
                <a:gd name="T34" fmla="*/ 449 w 350"/>
                <a:gd name="T35" fmla="*/ 103 h 468"/>
                <a:gd name="T36" fmla="*/ 417 w 350"/>
                <a:gd name="T37" fmla="*/ 11 h 468"/>
                <a:gd name="T38" fmla="*/ 613 w 350"/>
                <a:gd name="T39" fmla="*/ 74 h 468"/>
                <a:gd name="T40" fmla="*/ 671 w 350"/>
                <a:gd name="T41" fmla="*/ 97 h 468"/>
                <a:gd name="T42" fmla="*/ 781 w 350"/>
                <a:gd name="T43" fmla="*/ 133 h 468"/>
                <a:gd name="T44" fmla="*/ 805 w 350"/>
                <a:gd name="T45" fmla="*/ 179 h 468"/>
                <a:gd name="T46" fmla="*/ 1027 w 350"/>
                <a:gd name="T47" fmla="*/ 103 h 468"/>
                <a:gd name="T48" fmla="*/ 1130 w 350"/>
                <a:gd name="T49" fmla="*/ 151 h 468"/>
                <a:gd name="T50" fmla="*/ 1194 w 350"/>
                <a:gd name="T51" fmla="*/ 196 h 468"/>
                <a:gd name="T52" fmla="*/ 1272 w 350"/>
                <a:gd name="T53" fmla="*/ 222 h 468"/>
                <a:gd name="T54" fmla="*/ 1272 w 350"/>
                <a:gd name="T55" fmla="*/ 364 h 468"/>
                <a:gd name="T56" fmla="*/ 1328 w 350"/>
                <a:gd name="T57" fmla="*/ 473 h 468"/>
                <a:gd name="T58" fmla="*/ 1334 w 350"/>
                <a:gd name="T59" fmla="*/ 542 h 468"/>
                <a:gd name="T60" fmla="*/ 1341 w 350"/>
                <a:gd name="T61" fmla="*/ 666 h 468"/>
                <a:gd name="T62" fmla="*/ 1285 w 350"/>
                <a:gd name="T63" fmla="*/ 655 h 468"/>
                <a:gd name="T64" fmla="*/ 1152 w 350"/>
                <a:gd name="T65" fmla="*/ 684 h 468"/>
                <a:gd name="T66" fmla="*/ 1075 w 350"/>
                <a:gd name="T67" fmla="*/ 717 h 468"/>
                <a:gd name="T68" fmla="*/ 979 w 350"/>
                <a:gd name="T69" fmla="*/ 752 h 468"/>
                <a:gd name="T70" fmla="*/ 997 w 350"/>
                <a:gd name="T71" fmla="*/ 820 h 468"/>
                <a:gd name="T72" fmla="*/ 1050 w 350"/>
                <a:gd name="T73" fmla="*/ 898 h 468"/>
                <a:gd name="T74" fmla="*/ 1162 w 350"/>
                <a:gd name="T75" fmla="*/ 948 h 468"/>
                <a:gd name="T76" fmla="*/ 1145 w 350"/>
                <a:gd name="T77" fmla="*/ 1011 h 468"/>
                <a:gd name="T78" fmla="*/ 1027 w 350"/>
                <a:gd name="T79" fmla="*/ 1082 h 468"/>
                <a:gd name="T80" fmla="*/ 1075 w 350"/>
                <a:gd name="T81" fmla="*/ 1174 h 468"/>
                <a:gd name="T82" fmla="*/ 988 w 350"/>
                <a:gd name="T83" fmla="*/ 1156 h 468"/>
                <a:gd name="T84" fmla="*/ 844 w 350"/>
                <a:gd name="T85" fmla="*/ 1171 h 468"/>
                <a:gd name="T86" fmla="*/ 749 w 350"/>
                <a:gd name="T87" fmla="*/ 1180 h 468"/>
                <a:gd name="T88" fmla="*/ 680 w 350"/>
                <a:gd name="T89" fmla="*/ 1186 h 468"/>
                <a:gd name="T90" fmla="*/ 625 w 350"/>
                <a:gd name="T91" fmla="*/ 1180 h 468"/>
                <a:gd name="T92" fmla="*/ 571 w 350"/>
                <a:gd name="T93" fmla="*/ 1171 h 468"/>
                <a:gd name="T94" fmla="*/ 417 w 350"/>
                <a:gd name="T95" fmla="*/ 1145 h 468"/>
                <a:gd name="T96" fmla="*/ 339 w 350"/>
                <a:gd name="T97" fmla="*/ 1156 h 468"/>
                <a:gd name="T98" fmla="*/ 245 w 350"/>
                <a:gd name="T99" fmla="*/ 1158 h 468"/>
                <a:gd name="T100" fmla="*/ 1194 w 350"/>
                <a:gd name="T101" fmla="*/ 166 h 4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0"/>
                <a:gd name="T154" fmla="*/ 0 h 468"/>
                <a:gd name="T155" fmla="*/ 350 w 350"/>
                <a:gd name="T156" fmla="*/ 468 h 4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0" h="468">
                  <a:moveTo>
                    <a:pt x="62" y="450"/>
                  </a:moveTo>
                  <a:lnTo>
                    <a:pt x="58" y="444"/>
                  </a:lnTo>
                  <a:lnTo>
                    <a:pt x="62" y="426"/>
                  </a:lnTo>
                  <a:lnTo>
                    <a:pt x="62" y="424"/>
                  </a:lnTo>
                  <a:lnTo>
                    <a:pt x="62" y="416"/>
                  </a:lnTo>
                  <a:lnTo>
                    <a:pt x="68" y="408"/>
                  </a:lnTo>
                  <a:lnTo>
                    <a:pt x="68" y="398"/>
                  </a:lnTo>
                  <a:lnTo>
                    <a:pt x="70" y="392"/>
                  </a:lnTo>
                  <a:lnTo>
                    <a:pt x="86" y="372"/>
                  </a:lnTo>
                  <a:lnTo>
                    <a:pt x="76" y="366"/>
                  </a:lnTo>
                  <a:lnTo>
                    <a:pt x="68" y="366"/>
                  </a:lnTo>
                  <a:lnTo>
                    <a:pt x="60" y="364"/>
                  </a:lnTo>
                  <a:lnTo>
                    <a:pt x="58" y="360"/>
                  </a:lnTo>
                  <a:lnTo>
                    <a:pt x="54" y="360"/>
                  </a:lnTo>
                  <a:lnTo>
                    <a:pt x="42" y="362"/>
                  </a:lnTo>
                  <a:lnTo>
                    <a:pt x="40" y="358"/>
                  </a:lnTo>
                  <a:lnTo>
                    <a:pt x="34" y="360"/>
                  </a:lnTo>
                  <a:lnTo>
                    <a:pt x="28" y="352"/>
                  </a:lnTo>
                  <a:lnTo>
                    <a:pt x="20" y="344"/>
                  </a:lnTo>
                  <a:lnTo>
                    <a:pt x="18" y="334"/>
                  </a:lnTo>
                  <a:lnTo>
                    <a:pt x="24" y="330"/>
                  </a:lnTo>
                  <a:lnTo>
                    <a:pt x="24" y="322"/>
                  </a:lnTo>
                  <a:lnTo>
                    <a:pt x="16" y="320"/>
                  </a:lnTo>
                  <a:lnTo>
                    <a:pt x="8" y="312"/>
                  </a:lnTo>
                  <a:lnTo>
                    <a:pt x="8" y="304"/>
                  </a:lnTo>
                  <a:lnTo>
                    <a:pt x="16" y="294"/>
                  </a:lnTo>
                  <a:lnTo>
                    <a:pt x="14" y="282"/>
                  </a:lnTo>
                  <a:lnTo>
                    <a:pt x="10" y="270"/>
                  </a:lnTo>
                  <a:lnTo>
                    <a:pt x="4" y="266"/>
                  </a:lnTo>
                  <a:lnTo>
                    <a:pt x="6" y="258"/>
                  </a:lnTo>
                  <a:lnTo>
                    <a:pt x="4" y="252"/>
                  </a:lnTo>
                  <a:lnTo>
                    <a:pt x="0" y="252"/>
                  </a:lnTo>
                  <a:lnTo>
                    <a:pt x="2" y="248"/>
                  </a:lnTo>
                  <a:lnTo>
                    <a:pt x="6" y="246"/>
                  </a:lnTo>
                  <a:lnTo>
                    <a:pt x="10" y="242"/>
                  </a:lnTo>
                  <a:lnTo>
                    <a:pt x="6" y="238"/>
                  </a:lnTo>
                  <a:lnTo>
                    <a:pt x="10" y="230"/>
                  </a:lnTo>
                  <a:lnTo>
                    <a:pt x="12" y="226"/>
                  </a:lnTo>
                  <a:lnTo>
                    <a:pt x="10" y="218"/>
                  </a:lnTo>
                  <a:lnTo>
                    <a:pt x="8" y="212"/>
                  </a:lnTo>
                  <a:lnTo>
                    <a:pt x="2" y="206"/>
                  </a:lnTo>
                  <a:lnTo>
                    <a:pt x="2" y="202"/>
                  </a:lnTo>
                  <a:lnTo>
                    <a:pt x="8" y="198"/>
                  </a:lnTo>
                  <a:lnTo>
                    <a:pt x="12" y="196"/>
                  </a:lnTo>
                  <a:lnTo>
                    <a:pt x="18" y="200"/>
                  </a:lnTo>
                  <a:lnTo>
                    <a:pt x="30" y="196"/>
                  </a:lnTo>
                  <a:lnTo>
                    <a:pt x="36" y="192"/>
                  </a:lnTo>
                  <a:lnTo>
                    <a:pt x="38" y="182"/>
                  </a:lnTo>
                  <a:lnTo>
                    <a:pt x="44" y="176"/>
                  </a:lnTo>
                  <a:lnTo>
                    <a:pt x="44" y="166"/>
                  </a:lnTo>
                  <a:lnTo>
                    <a:pt x="42" y="162"/>
                  </a:lnTo>
                  <a:lnTo>
                    <a:pt x="38" y="162"/>
                  </a:lnTo>
                  <a:lnTo>
                    <a:pt x="30" y="160"/>
                  </a:lnTo>
                  <a:lnTo>
                    <a:pt x="32" y="154"/>
                  </a:lnTo>
                  <a:lnTo>
                    <a:pt x="34" y="148"/>
                  </a:lnTo>
                  <a:lnTo>
                    <a:pt x="44" y="150"/>
                  </a:lnTo>
                  <a:lnTo>
                    <a:pt x="44" y="138"/>
                  </a:lnTo>
                  <a:lnTo>
                    <a:pt x="50" y="128"/>
                  </a:lnTo>
                  <a:lnTo>
                    <a:pt x="48" y="116"/>
                  </a:lnTo>
                  <a:lnTo>
                    <a:pt x="50" y="112"/>
                  </a:lnTo>
                  <a:lnTo>
                    <a:pt x="42" y="106"/>
                  </a:lnTo>
                  <a:lnTo>
                    <a:pt x="44" y="94"/>
                  </a:lnTo>
                  <a:lnTo>
                    <a:pt x="48" y="88"/>
                  </a:lnTo>
                  <a:lnTo>
                    <a:pt x="54" y="88"/>
                  </a:lnTo>
                  <a:lnTo>
                    <a:pt x="74" y="86"/>
                  </a:lnTo>
                  <a:lnTo>
                    <a:pt x="78" y="84"/>
                  </a:lnTo>
                  <a:lnTo>
                    <a:pt x="80" y="90"/>
                  </a:lnTo>
                  <a:lnTo>
                    <a:pt x="84" y="98"/>
                  </a:lnTo>
                  <a:lnTo>
                    <a:pt x="82" y="102"/>
                  </a:lnTo>
                  <a:lnTo>
                    <a:pt x="88" y="106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100" y="98"/>
                  </a:lnTo>
                  <a:lnTo>
                    <a:pt x="96" y="86"/>
                  </a:lnTo>
                  <a:lnTo>
                    <a:pt x="102" y="74"/>
                  </a:lnTo>
                  <a:lnTo>
                    <a:pt x="114" y="78"/>
                  </a:lnTo>
                  <a:lnTo>
                    <a:pt x="124" y="76"/>
                  </a:lnTo>
                  <a:lnTo>
                    <a:pt x="114" y="70"/>
                  </a:lnTo>
                  <a:lnTo>
                    <a:pt x="112" y="64"/>
                  </a:lnTo>
                  <a:lnTo>
                    <a:pt x="116" y="60"/>
                  </a:lnTo>
                  <a:lnTo>
                    <a:pt x="112" y="56"/>
                  </a:lnTo>
                  <a:lnTo>
                    <a:pt x="110" y="52"/>
                  </a:lnTo>
                  <a:lnTo>
                    <a:pt x="114" y="50"/>
                  </a:lnTo>
                  <a:lnTo>
                    <a:pt x="114" y="46"/>
                  </a:lnTo>
                  <a:lnTo>
                    <a:pt x="102" y="48"/>
                  </a:lnTo>
                  <a:lnTo>
                    <a:pt x="102" y="44"/>
                  </a:lnTo>
                  <a:lnTo>
                    <a:pt x="114" y="40"/>
                  </a:lnTo>
                  <a:lnTo>
                    <a:pt x="116" y="34"/>
                  </a:lnTo>
                  <a:lnTo>
                    <a:pt x="108" y="22"/>
                  </a:lnTo>
                  <a:lnTo>
                    <a:pt x="102" y="12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38" y="0"/>
                  </a:lnTo>
                  <a:lnTo>
                    <a:pt x="142" y="4"/>
                  </a:lnTo>
                  <a:lnTo>
                    <a:pt x="152" y="14"/>
                  </a:lnTo>
                  <a:lnTo>
                    <a:pt x="156" y="22"/>
                  </a:lnTo>
                  <a:lnTo>
                    <a:pt x="156" y="28"/>
                  </a:lnTo>
                  <a:lnTo>
                    <a:pt x="152" y="34"/>
                  </a:lnTo>
                  <a:lnTo>
                    <a:pt x="160" y="32"/>
                  </a:lnTo>
                  <a:lnTo>
                    <a:pt x="162" y="40"/>
                  </a:lnTo>
                  <a:lnTo>
                    <a:pt x="166" y="36"/>
                  </a:lnTo>
                  <a:lnTo>
                    <a:pt x="170" y="38"/>
                  </a:lnTo>
                  <a:lnTo>
                    <a:pt x="174" y="42"/>
                  </a:lnTo>
                  <a:lnTo>
                    <a:pt x="182" y="44"/>
                  </a:lnTo>
                  <a:lnTo>
                    <a:pt x="198" y="40"/>
                  </a:lnTo>
                  <a:lnTo>
                    <a:pt x="198" y="46"/>
                  </a:lnTo>
                  <a:lnTo>
                    <a:pt x="198" y="52"/>
                  </a:lnTo>
                  <a:lnTo>
                    <a:pt x="196" y="54"/>
                  </a:lnTo>
                  <a:lnTo>
                    <a:pt x="184" y="64"/>
                  </a:lnTo>
                  <a:lnTo>
                    <a:pt x="190" y="70"/>
                  </a:lnTo>
                  <a:lnTo>
                    <a:pt x="202" y="66"/>
                  </a:lnTo>
                  <a:lnTo>
                    <a:pt x="204" y="70"/>
                  </a:lnTo>
                  <a:lnTo>
                    <a:pt x="212" y="70"/>
                  </a:lnTo>
                  <a:lnTo>
                    <a:pt x="218" y="58"/>
                  </a:lnTo>
                  <a:lnTo>
                    <a:pt x="236" y="54"/>
                  </a:lnTo>
                  <a:lnTo>
                    <a:pt x="246" y="48"/>
                  </a:lnTo>
                  <a:lnTo>
                    <a:pt x="260" y="40"/>
                  </a:lnTo>
                  <a:lnTo>
                    <a:pt x="264" y="44"/>
                  </a:lnTo>
                  <a:lnTo>
                    <a:pt x="270" y="38"/>
                  </a:lnTo>
                  <a:lnTo>
                    <a:pt x="272" y="44"/>
                  </a:lnTo>
                  <a:lnTo>
                    <a:pt x="274" y="48"/>
                  </a:lnTo>
                  <a:lnTo>
                    <a:pt x="286" y="58"/>
                  </a:lnTo>
                  <a:lnTo>
                    <a:pt x="288" y="60"/>
                  </a:lnTo>
                  <a:lnTo>
                    <a:pt x="298" y="56"/>
                  </a:lnTo>
                  <a:lnTo>
                    <a:pt x="300" y="60"/>
                  </a:lnTo>
                  <a:lnTo>
                    <a:pt x="302" y="70"/>
                  </a:lnTo>
                  <a:lnTo>
                    <a:pt x="302" y="76"/>
                  </a:lnTo>
                  <a:lnTo>
                    <a:pt x="304" y="78"/>
                  </a:lnTo>
                  <a:lnTo>
                    <a:pt x="310" y="82"/>
                  </a:lnTo>
                  <a:lnTo>
                    <a:pt x="318" y="82"/>
                  </a:lnTo>
                  <a:lnTo>
                    <a:pt x="318" y="86"/>
                  </a:lnTo>
                  <a:lnTo>
                    <a:pt x="322" y="86"/>
                  </a:lnTo>
                  <a:lnTo>
                    <a:pt x="326" y="110"/>
                  </a:lnTo>
                  <a:lnTo>
                    <a:pt x="322" y="126"/>
                  </a:lnTo>
                  <a:lnTo>
                    <a:pt x="316" y="130"/>
                  </a:lnTo>
                  <a:lnTo>
                    <a:pt x="316" y="140"/>
                  </a:lnTo>
                  <a:lnTo>
                    <a:pt x="322" y="142"/>
                  </a:lnTo>
                  <a:lnTo>
                    <a:pt x="334" y="154"/>
                  </a:lnTo>
                  <a:lnTo>
                    <a:pt x="330" y="166"/>
                  </a:lnTo>
                  <a:lnTo>
                    <a:pt x="332" y="170"/>
                  </a:lnTo>
                  <a:lnTo>
                    <a:pt x="338" y="174"/>
                  </a:lnTo>
                  <a:lnTo>
                    <a:pt x="336" y="184"/>
                  </a:lnTo>
                  <a:lnTo>
                    <a:pt x="340" y="186"/>
                  </a:lnTo>
                  <a:lnTo>
                    <a:pt x="338" y="194"/>
                  </a:lnTo>
                  <a:lnTo>
                    <a:pt x="334" y="198"/>
                  </a:lnTo>
                  <a:lnTo>
                    <a:pt x="334" y="204"/>
                  </a:lnTo>
                  <a:lnTo>
                    <a:pt x="338" y="210"/>
                  </a:lnTo>
                  <a:lnTo>
                    <a:pt x="336" y="218"/>
                  </a:lnTo>
                  <a:lnTo>
                    <a:pt x="346" y="222"/>
                  </a:lnTo>
                  <a:lnTo>
                    <a:pt x="350" y="236"/>
                  </a:lnTo>
                  <a:lnTo>
                    <a:pt x="342" y="256"/>
                  </a:lnTo>
                  <a:lnTo>
                    <a:pt x="340" y="258"/>
                  </a:lnTo>
                  <a:lnTo>
                    <a:pt x="334" y="258"/>
                  </a:lnTo>
                  <a:lnTo>
                    <a:pt x="334" y="250"/>
                  </a:lnTo>
                  <a:lnTo>
                    <a:pt x="328" y="246"/>
                  </a:lnTo>
                  <a:lnTo>
                    <a:pt x="320" y="248"/>
                  </a:lnTo>
                  <a:lnTo>
                    <a:pt x="326" y="254"/>
                  </a:lnTo>
                  <a:lnTo>
                    <a:pt x="320" y="256"/>
                  </a:lnTo>
                  <a:lnTo>
                    <a:pt x="316" y="258"/>
                  </a:lnTo>
                  <a:lnTo>
                    <a:pt x="308" y="260"/>
                  </a:lnTo>
                  <a:lnTo>
                    <a:pt x="306" y="264"/>
                  </a:lnTo>
                  <a:lnTo>
                    <a:pt x="292" y="266"/>
                  </a:lnTo>
                  <a:lnTo>
                    <a:pt x="290" y="272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80" y="278"/>
                  </a:lnTo>
                  <a:lnTo>
                    <a:pt x="272" y="278"/>
                  </a:lnTo>
                  <a:lnTo>
                    <a:pt x="272" y="282"/>
                  </a:lnTo>
                  <a:lnTo>
                    <a:pt x="264" y="282"/>
                  </a:lnTo>
                  <a:lnTo>
                    <a:pt x="256" y="288"/>
                  </a:lnTo>
                  <a:lnTo>
                    <a:pt x="252" y="288"/>
                  </a:lnTo>
                  <a:lnTo>
                    <a:pt x="248" y="292"/>
                  </a:lnTo>
                  <a:lnTo>
                    <a:pt x="242" y="296"/>
                  </a:lnTo>
                  <a:lnTo>
                    <a:pt x="244" y="298"/>
                  </a:lnTo>
                  <a:lnTo>
                    <a:pt x="248" y="308"/>
                  </a:lnTo>
                  <a:lnTo>
                    <a:pt x="256" y="310"/>
                  </a:lnTo>
                  <a:lnTo>
                    <a:pt x="252" y="318"/>
                  </a:lnTo>
                  <a:lnTo>
                    <a:pt x="250" y="328"/>
                  </a:lnTo>
                  <a:lnTo>
                    <a:pt x="254" y="330"/>
                  </a:lnTo>
                  <a:lnTo>
                    <a:pt x="254" y="338"/>
                  </a:lnTo>
                  <a:lnTo>
                    <a:pt x="258" y="342"/>
                  </a:lnTo>
                  <a:lnTo>
                    <a:pt x="266" y="348"/>
                  </a:lnTo>
                  <a:lnTo>
                    <a:pt x="270" y="346"/>
                  </a:lnTo>
                  <a:lnTo>
                    <a:pt x="280" y="360"/>
                  </a:lnTo>
                  <a:lnTo>
                    <a:pt x="288" y="366"/>
                  </a:lnTo>
                  <a:lnTo>
                    <a:pt x="290" y="370"/>
                  </a:lnTo>
                  <a:lnTo>
                    <a:pt x="294" y="368"/>
                  </a:lnTo>
                  <a:lnTo>
                    <a:pt x="298" y="372"/>
                  </a:lnTo>
                  <a:lnTo>
                    <a:pt x="300" y="374"/>
                  </a:lnTo>
                  <a:lnTo>
                    <a:pt x="308" y="390"/>
                  </a:lnTo>
                  <a:lnTo>
                    <a:pt x="296" y="398"/>
                  </a:lnTo>
                  <a:lnTo>
                    <a:pt x="290" y="392"/>
                  </a:lnTo>
                  <a:lnTo>
                    <a:pt x="286" y="394"/>
                  </a:lnTo>
                  <a:lnTo>
                    <a:pt x="286" y="402"/>
                  </a:lnTo>
                  <a:lnTo>
                    <a:pt x="284" y="406"/>
                  </a:lnTo>
                  <a:lnTo>
                    <a:pt x="266" y="414"/>
                  </a:lnTo>
                  <a:lnTo>
                    <a:pt x="260" y="420"/>
                  </a:lnTo>
                  <a:lnTo>
                    <a:pt x="270" y="436"/>
                  </a:lnTo>
                  <a:lnTo>
                    <a:pt x="266" y="442"/>
                  </a:lnTo>
                  <a:lnTo>
                    <a:pt x="272" y="444"/>
                  </a:lnTo>
                  <a:lnTo>
                    <a:pt x="272" y="448"/>
                  </a:lnTo>
                  <a:lnTo>
                    <a:pt x="272" y="456"/>
                  </a:lnTo>
                  <a:lnTo>
                    <a:pt x="270" y="458"/>
                  </a:lnTo>
                  <a:lnTo>
                    <a:pt x="262" y="452"/>
                  </a:lnTo>
                  <a:lnTo>
                    <a:pt x="264" y="448"/>
                  </a:lnTo>
                  <a:lnTo>
                    <a:pt x="260" y="446"/>
                  </a:lnTo>
                  <a:lnTo>
                    <a:pt x="250" y="448"/>
                  </a:lnTo>
                  <a:lnTo>
                    <a:pt x="248" y="444"/>
                  </a:lnTo>
                  <a:lnTo>
                    <a:pt x="240" y="444"/>
                  </a:lnTo>
                  <a:lnTo>
                    <a:pt x="238" y="450"/>
                  </a:lnTo>
                  <a:lnTo>
                    <a:pt x="216" y="450"/>
                  </a:lnTo>
                  <a:lnTo>
                    <a:pt x="214" y="454"/>
                  </a:lnTo>
                  <a:lnTo>
                    <a:pt x="210" y="454"/>
                  </a:lnTo>
                  <a:lnTo>
                    <a:pt x="208" y="458"/>
                  </a:lnTo>
                  <a:lnTo>
                    <a:pt x="202" y="462"/>
                  </a:lnTo>
                  <a:lnTo>
                    <a:pt x="192" y="462"/>
                  </a:lnTo>
                  <a:lnTo>
                    <a:pt x="190" y="458"/>
                  </a:lnTo>
                  <a:lnTo>
                    <a:pt x="188" y="454"/>
                  </a:lnTo>
                  <a:lnTo>
                    <a:pt x="180" y="452"/>
                  </a:lnTo>
                  <a:lnTo>
                    <a:pt x="176" y="452"/>
                  </a:lnTo>
                  <a:lnTo>
                    <a:pt x="172" y="452"/>
                  </a:lnTo>
                  <a:lnTo>
                    <a:pt x="172" y="460"/>
                  </a:lnTo>
                  <a:lnTo>
                    <a:pt x="164" y="468"/>
                  </a:lnTo>
                  <a:lnTo>
                    <a:pt x="162" y="468"/>
                  </a:lnTo>
                  <a:lnTo>
                    <a:pt x="162" y="462"/>
                  </a:lnTo>
                  <a:lnTo>
                    <a:pt x="158" y="462"/>
                  </a:lnTo>
                  <a:lnTo>
                    <a:pt x="158" y="458"/>
                  </a:lnTo>
                  <a:lnTo>
                    <a:pt x="154" y="456"/>
                  </a:lnTo>
                  <a:lnTo>
                    <a:pt x="152" y="452"/>
                  </a:lnTo>
                  <a:lnTo>
                    <a:pt x="148" y="452"/>
                  </a:lnTo>
                  <a:lnTo>
                    <a:pt x="148" y="450"/>
                  </a:lnTo>
                  <a:lnTo>
                    <a:pt x="144" y="454"/>
                  </a:lnTo>
                  <a:lnTo>
                    <a:pt x="138" y="452"/>
                  </a:lnTo>
                  <a:lnTo>
                    <a:pt x="126" y="446"/>
                  </a:lnTo>
                  <a:lnTo>
                    <a:pt x="112" y="446"/>
                  </a:lnTo>
                  <a:lnTo>
                    <a:pt x="110" y="444"/>
                  </a:lnTo>
                  <a:lnTo>
                    <a:pt x="106" y="444"/>
                  </a:lnTo>
                  <a:lnTo>
                    <a:pt x="106" y="440"/>
                  </a:lnTo>
                  <a:lnTo>
                    <a:pt x="92" y="446"/>
                  </a:lnTo>
                  <a:lnTo>
                    <a:pt x="96" y="450"/>
                  </a:lnTo>
                  <a:lnTo>
                    <a:pt x="90" y="450"/>
                  </a:lnTo>
                  <a:lnTo>
                    <a:pt x="86" y="448"/>
                  </a:lnTo>
                  <a:lnTo>
                    <a:pt x="76" y="452"/>
                  </a:lnTo>
                  <a:lnTo>
                    <a:pt x="70" y="450"/>
                  </a:lnTo>
                  <a:lnTo>
                    <a:pt x="66" y="452"/>
                  </a:lnTo>
                  <a:lnTo>
                    <a:pt x="62" y="450"/>
                  </a:lnTo>
                  <a:close/>
                  <a:moveTo>
                    <a:pt x="316" y="72"/>
                  </a:moveTo>
                  <a:lnTo>
                    <a:pt x="314" y="72"/>
                  </a:lnTo>
                  <a:lnTo>
                    <a:pt x="312" y="70"/>
                  </a:lnTo>
                  <a:lnTo>
                    <a:pt x="304" y="72"/>
                  </a:lnTo>
                  <a:lnTo>
                    <a:pt x="302" y="64"/>
                  </a:lnTo>
                  <a:lnTo>
                    <a:pt x="302" y="58"/>
                  </a:lnTo>
                  <a:lnTo>
                    <a:pt x="314" y="66"/>
                  </a:lnTo>
                  <a:lnTo>
                    <a:pt x="316" y="7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48">
              <a:extLst>
                <a:ext uri="{FF2B5EF4-FFF2-40B4-BE49-F238E27FC236}">
                  <a16:creationId xmlns:a16="http://schemas.microsoft.com/office/drawing/2014/main" id="{97A06CAA-C2F1-4C07-A8E6-52467BD547A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2063" y="5103813"/>
              <a:ext cx="790575" cy="601662"/>
            </a:xfrm>
            <a:custGeom>
              <a:avLst/>
              <a:gdLst>
                <a:gd name="T0" fmla="*/ 70 w 476"/>
                <a:gd name="T1" fmla="*/ 213 h 386"/>
                <a:gd name="T2" fmla="*/ 48 w 476"/>
                <a:gd name="T3" fmla="*/ 127 h 386"/>
                <a:gd name="T4" fmla="*/ 0 w 476"/>
                <a:gd name="T5" fmla="*/ 94 h 386"/>
                <a:gd name="T6" fmla="*/ 61 w 476"/>
                <a:gd name="T7" fmla="*/ 54 h 386"/>
                <a:gd name="T8" fmla="*/ 148 w 476"/>
                <a:gd name="T9" fmla="*/ 42 h 386"/>
                <a:gd name="T10" fmla="*/ 242 w 476"/>
                <a:gd name="T11" fmla="*/ 0 h 386"/>
                <a:gd name="T12" fmla="*/ 413 w 476"/>
                <a:gd name="T13" fmla="*/ 21 h 386"/>
                <a:gd name="T14" fmla="*/ 514 w 476"/>
                <a:gd name="T15" fmla="*/ 2 h 386"/>
                <a:gd name="T16" fmla="*/ 661 w 476"/>
                <a:gd name="T17" fmla="*/ 36 h 386"/>
                <a:gd name="T18" fmla="*/ 870 w 476"/>
                <a:gd name="T19" fmla="*/ 47 h 386"/>
                <a:gd name="T20" fmla="*/ 964 w 476"/>
                <a:gd name="T21" fmla="*/ 26 h 386"/>
                <a:gd name="T22" fmla="*/ 1100 w 476"/>
                <a:gd name="T23" fmla="*/ 58 h 386"/>
                <a:gd name="T24" fmla="*/ 1159 w 476"/>
                <a:gd name="T25" fmla="*/ 78 h 386"/>
                <a:gd name="T26" fmla="*/ 1168 w 476"/>
                <a:gd name="T27" fmla="*/ 101 h 386"/>
                <a:gd name="T28" fmla="*/ 1255 w 476"/>
                <a:gd name="T29" fmla="*/ 111 h 386"/>
                <a:gd name="T30" fmla="*/ 1317 w 476"/>
                <a:gd name="T31" fmla="*/ 132 h 386"/>
                <a:gd name="T32" fmla="*/ 1353 w 476"/>
                <a:gd name="T33" fmla="*/ 143 h 386"/>
                <a:gd name="T34" fmla="*/ 1410 w 476"/>
                <a:gd name="T35" fmla="*/ 154 h 386"/>
                <a:gd name="T36" fmla="*/ 1469 w 476"/>
                <a:gd name="T37" fmla="*/ 132 h 386"/>
                <a:gd name="T38" fmla="*/ 1578 w 476"/>
                <a:gd name="T39" fmla="*/ 165 h 386"/>
                <a:gd name="T40" fmla="*/ 1625 w 476"/>
                <a:gd name="T41" fmla="*/ 181 h 386"/>
                <a:gd name="T42" fmla="*/ 1667 w 476"/>
                <a:gd name="T43" fmla="*/ 195 h 386"/>
                <a:gd name="T44" fmla="*/ 1733 w 476"/>
                <a:gd name="T45" fmla="*/ 195 h 386"/>
                <a:gd name="T46" fmla="*/ 1821 w 476"/>
                <a:gd name="T47" fmla="*/ 181 h 386"/>
                <a:gd name="T48" fmla="*/ 1842 w 476"/>
                <a:gd name="T49" fmla="*/ 221 h 386"/>
                <a:gd name="T50" fmla="*/ 1775 w 476"/>
                <a:gd name="T51" fmla="*/ 292 h 386"/>
                <a:gd name="T52" fmla="*/ 1625 w 476"/>
                <a:gd name="T53" fmla="*/ 345 h 386"/>
                <a:gd name="T54" fmla="*/ 1498 w 476"/>
                <a:gd name="T55" fmla="*/ 392 h 386"/>
                <a:gd name="T56" fmla="*/ 1501 w 476"/>
                <a:gd name="T57" fmla="*/ 419 h 386"/>
                <a:gd name="T58" fmla="*/ 1353 w 476"/>
                <a:gd name="T59" fmla="*/ 525 h 386"/>
                <a:gd name="T60" fmla="*/ 1322 w 476"/>
                <a:gd name="T61" fmla="*/ 583 h 386"/>
                <a:gd name="T62" fmla="*/ 1353 w 476"/>
                <a:gd name="T63" fmla="*/ 647 h 386"/>
                <a:gd name="T64" fmla="*/ 1368 w 476"/>
                <a:gd name="T65" fmla="*/ 693 h 386"/>
                <a:gd name="T66" fmla="*/ 1302 w 476"/>
                <a:gd name="T67" fmla="*/ 740 h 386"/>
                <a:gd name="T68" fmla="*/ 1258 w 476"/>
                <a:gd name="T69" fmla="*/ 822 h 386"/>
                <a:gd name="T70" fmla="*/ 1136 w 476"/>
                <a:gd name="T71" fmla="*/ 842 h 386"/>
                <a:gd name="T72" fmla="*/ 1051 w 476"/>
                <a:gd name="T73" fmla="*/ 933 h 386"/>
                <a:gd name="T74" fmla="*/ 964 w 476"/>
                <a:gd name="T75" fmla="*/ 935 h 386"/>
                <a:gd name="T76" fmla="*/ 719 w 476"/>
                <a:gd name="T77" fmla="*/ 933 h 386"/>
                <a:gd name="T78" fmla="*/ 583 w 476"/>
                <a:gd name="T79" fmla="*/ 996 h 386"/>
                <a:gd name="T80" fmla="*/ 568 w 476"/>
                <a:gd name="T81" fmla="*/ 1000 h 386"/>
                <a:gd name="T82" fmla="*/ 537 w 476"/>
                <a:gd name="T83" fmla="*/ 1022 h 386"/>
                <a:gd name="T84" fmla="*/ 444 w 476"/>
                <a:gd name="T85" fmla="*/ 968 h 386"/>
                <a:gd name="T86" fmla="*/ 413 w 476"/>
                <a:gd name="T87" fmla="*/ 933 h 386"/>
                <a:gd name="T88" fmla="*/ 341 w 476"/>
                <a:gd name="T89" fmla="*/ 879 h 386"/>
                <a:gd name="T90" fmla="*/ 265 w 476"/>
                <a:gd name="T91" fmla="*/ 869 h 386"/>
                <a:gd name="T92" fmla="*/ 304 w 476"/>
                <a:gd name="T93" fmla="*/ 794 h 386"/>
                <a:gd name="T94" fmla="*/ 280 w 476"/>
                <a:gd name="T95" fmla="*/ 730 h 386"/>
                <a:gd name="T96" fmla="*/ 351 w 476"/>
                <a:gd name="T97" fmla="*/ 647 h 386"/>
                <a:gd name="T98" fmla="*/ 272 w 476"/>
                <a:gd name="T99" fmla="*/ 573 h 386"/>
                <a:gd name="T100" fmla="*/ 351 w 476"/>
                <a:gd name="T101" fmla="*/ 552 h 386"/>
                <a:gd name="T102" fmla="*/ 366 w 476"/>
                <a:gd name="T103" fmla="*/ 419 h 386"/>
                <a:gd name="T104" fmla="*/ 366 w 476"/>
                <a:gd name="T105" fmla="*/ 360 h 386"/>
                <a:gd name="T106" fmla="*/ 467 w 476"/>
                <a:gd name="T107" fmla="*/ 303 h 386"/>
                <a:gd name="T108" fmla="*/ 381 w 476"/>
                <a:gd name="T109" fmla="*/ 242 h 386"/>
                <a:gd name="T110" fmla="*/ 203 w 476"/>
                <a:gd name="T111" fmla="*/ 253 h 386"/>
                <a:gd name="T112" fmla="*/ 70 w 476"/>
                <a:gd name="T113" fmla="*/ 253 h 3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76"/>
                <a:gd name="T172" fmla="*/ 0 h 386"/>
                <a:gd name="T173" fmla="*/ 476 w 476"/>
                <a:gd name="T174" fmla="*/ 386 h 3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76" h="386">
                  <a:moveTo>
                    <a:pt x="18" y="96"/>
                  </a:moveTo>
                  <a:lnTo>
                    <a:pt x="16" y="90"/>
                  </a:lnTo>
                  <a:lnTo>
                    <a:pt x="18" y="80"/>
                  </a:lnTo>
                  <a:lnTo>
                    <a:pt x="24" y="68"/>
                  </a:lnTo>
                  <a:lnTo>
                    <a:pt x="18" y="58"/>
                  </a:lnTo>
                  <a:lnTo>
                    <a:pt x="12" y="48"/>
                  </a:lnTo>
                  <a:lnTo>
                    <a:pt x="4" y="46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10" y="24"/>
                  </a:lnTo>
                  <a:lnTo>
                    <a:pt x="16" y="20"/>
                  </a:lnTo>
                  <a:lnTo>
                    <a:pt x="26" y="20"/>
                  </a:lnTo>
                  <a:lnTo>
                    <a:pt x="36" y="20"/>
                  </a:lnTo>
                  <a:lnTo>
                    <a:pt x="38" y="16"/>
                  </a:lnTo>
                  <a:lnTo>
                    <a:pt x="40" y="6"/>
                  </a:lnTo>
                  <a:lnTo>
                    <a:pt x="48" y="0"/>
                  </a:lnTo>
                  <a:lnTo>
                    <a:pt x="62" y="0"/>
                  </a:lnTo>
                  <a:lnTo>
                    <a:pt x="80" y="8"/>
                  </a:lnTo>
                  <a:lnTo>
                    <a:pt x="94" y="10"/>
                  </a:lnTo>
                  <a:lnTo>
                    <a:pt x="106" y="8"/>
                  </a:lnTo>
                  <a:lnTo>
                    <a:pt x="116" y="4"/>
                  </a:lnTo>
                  <a:lnTo>
                    <a:pt x="126" y="2"/>
                  </a:lnTo>
                  <a:lnTo>
                    <a:pt x="132" y="2"/>
                  </a:lnTo>
                  <a:lnTo>
                    <a:pt x="142" y="8"/>
                  </a:lnTo>
                  <a:lnTo>
                    <a:pt x="154" y="12"/>
                  </a:lnTo>
                  <a:lnTo>
                    <a:pt x="170" y="14"/>
                  </a:lnTo>
                  <a:lnTo>
                    <a:pt x="198" y="14"/>
                  </a:lnTo>
                  <a:lnTo>
                    <a:pt x="208" y="14"/>
                  </a:lnTo>
                  <a:lnTo>
                    <a:pt x="224" y="18"/>
                  </a:lnTo>
                  <a:lnTo>
                    <a:pt x="232" y="14"/>
                  </a:lnTo>
                  <a:lnTo>
                    <a:pt x="240" y="10"/>
                  </a:lnTo>
                  <a:lnTo>
                    <a:pt x="248" y="10"/>
                  </a:lnTo>
                  <a:lnTo>
                    <a:pt x="264" y="20"/>
                  </a:lnTo>
                  <a:lnTo>
                    <a:pt x="276" y="20"/>
                  </a:lnTo>
                  <a:lnTo>
                    <a:pt x="282" y="22"/>
                  </a:lnTo>
                  <a:lnTo>
                    <a:pt x="290" y="28"/>
                  </a:lnTo>
                  <a:lnTo>
                    <a:pt x="298" y="26"/>
                  </a:lnTo>
                  <a:lnTo>
                    <a:pt x="298" y="30"/>
                  </a:lnTo>
                  <a:lnTo>
                    <a:pt x="296" y="36"/>
                  </a:lnTo>
                  <a:lnTo>
                    <a:pt x="296" y="38"/>
                  </a:lnTo>
                  <a:lnTo>
                    <a:pt x="300" y="38"/>
                  </a:lnTo>
                  <a:lnTo>
                    <a:pt x="302" y="36"/>
                  </a:lnTo>
                  <a:lnTo>
                    <a:pt x="320" y="44"/>
                  </a:lnTo>
                  <a:lnTo>
                    <a:pt x="322" y="42"/>
                  </a:lnTo>
                  <a:lnTo>
                    <a:pt x="332" y="52"/>
                  </a:lnTo>
                  <a:lnTo>
                    <a:pt x="332" y="50"/>
                  </a:lnTo>
                  <a:lnTo>
                    <a:pt x="338" y="50"/>
                  </a:lnTo>
                  <a:lnTo>
                    <a:pt x="340" y="50"/>
                  </a:lnTo>
                  <a:lnTo>
                    <a:pt x="346" y="52"/>
                  </a:lnTo>
                  <a:lnTo>
                    <a:pt x="348" y="54"/>
                  </a:lnTo>
                  <a:lnTo>
                    <a:pt x="348" y="56"/>
                  </a:lnTo>
                  <a:lnTo>
                    <a:pt x="362" y="56"/>
                  </a:lnTo>
                  <a:lnTo>
                    <a:pt x="362" y="58"/>
                  </a:lnTo>
                  <a:lnTo>
                    <a:pt x="368" y="58"/>
                  </a:lnTo>
                  <a:lnTo>
                    <a:pt x="378" y="58"/>
                  </a:lnTo>
                  <a:lnTo>
                    <a:pt x="378" y="50"/>
                  </a:lnTo>
                  <a:lnTo>
                    <a:pt x="384" y="50"/>
                  </a:lnTo>
                  <a:lnTo>
                    <a:pt x="406" y="58"/>
                  </a:lnTo>
                  <a:lnTo>
                    <a:pt x="406" y="62"/>
                  </a:lnTo>
                  <a:lnTo>
                    <a:pt x="408" y="68"/>
                  </a:lnTo>
                  <a:lnTo>
                    <a:pt x="410" y="70"/>
                  </a:lnTo>
                  <a:lnTo>
                    <a:pt x="418" y="68"/>
                  </a:lnTo>
                  <a:lnTo>
                    <a:pt x="420" y="68"/>
                  </a:lnTo>
                  <a:lnTo>
                    <a:pt x="426" y="70"/>
                  </a:lnTo>
                  <a:lnTo>
                    <a:pt x="428" y="74"/>
                  </a:lnTo>
                  <a:lnTo>
                    <a:pt x="432" y="74"/>
                  </a:lnTo>
                  <a:lnTo>
                    <a:pt x="438" y="70"/>
                  </a:lnTo>
                  <a:lnTo>
                    <a:pt x="446" y="74"/>
                  </a:lnTo>
                  <a:lnTo>
                    <a:pt x="454" y="76"/>
                  </a:lnTo>
                  <a:lnTo>
                    <a:pt x="454" y="72"/>
                  </a:lnTo>
                  <a:lnTo>
                    <a:pt x="468" y="68"/>
                  </a:lnTo>
                  <a:lnTo>
                    <a:pt x="474" y="72"/>
                  </a:lnTo>
                  <a:lnTo>
                    <a:pt x="474" y="74"/>
                  </a:lnTo>
                  <a:lnTo>
                    <a:pt x="474" y="84"/>
                  </a:lnTo>
                  <a:lnTo>
                    <a:pt x="476" y="86"/>
                  </a:lnTo>
                  <a:lnTo>
                    <a:pt x="476" y="98"/>
                  </a:lnTo>
                  <a:lnTo>
                    <a:pt x="456" y="110"/>
                  </a:lnTo>
                  <a:lnTo>
                    <a:pt x="440" y="118"/>
                  </a:lnTo>
                  <a:lnTo>
                    <a:pt x="436" y="126"/>
                  </a:lnTo>
                  <a:lnTo>
                    <a:pt x="418" y="130"/>
                  </a:lnTo>
                  <a:lnTo>
                    <a:pt x="406" y="134"/>
                  </a:lnTo>
                  <a:lnTo>
                    <a:pt x="388" y="140"/>
                  </a:lnTo>
                  <a:lnTo>
                    <a:pt x="384" y="148"/>
                  </a:lnTo>
                  <a:lnTo>
                    <a:pt x="382" y="152"/>
                  </a:lnTo>
                  <a:lnTo>
                    <a:pt x="386" y="156"/>
                  </a:lnTo>
                  <a:lnTo>
                    <a:pt x="386" y="158"/>
                  </a:lnTo>
                  <a:lnTo>
                    <a:pt x="374" y="162"/>
                  </a:lnTo>
                  <a:lnTo>
                    <a:pt x="364" y="180"/>
                  </a:lnTo>
                  <a:lnTo>
                    <a:pt x="348" y="198"/>
                  </a:lnTo>
                  <a:lnTo>
                    <a:pt x="348" y="202"/>
                  </a:lnTo>
                  <a:lnTo>
                    <a:pt x="344" y="210"/>
                  </a:lnTo>
                  <a:lnTo>
                    <a:pt x="340" y="220"/>
                  </a:lnTo>
                  <a:lnTo>
                    <a:pt x="346" y="238"/>
                  </a:lnTo>
                  <a:lnTo>
                    <a:pt x="348" y="242"/>
                  </a:lnTo>
                  <a:lnTo>
                    <a:pt x="348" y="244"/>
                  </a:lnTo>
                  <a:lnTo>
                    <a:pt x="360" y="250"/>
                  </a:lnTo>
                  <a:lnTo>
                    <a:pt x="362" y="254"/>
                  </a:lnTo>
                  <a:lnTo>
                    <a:pt x="352" y="262"/>
                  </a:lnTo>
                  <a:lnTo>
                    <a:pt x="348" y="264"/>
                  </a:lnTo>
                  <a:lnTo>
                    <a:pt x="338" y="270"/>
                  </a:lnTo>
                  <a:lnTo>
                    <a:pt x="334" y="280"/>
                  </a:lnTo>
                  <a:lnTo>
                    <a:pt x="330" y="282"/>
                  </a:lnTo>
                  <a:lnTo>
                    <a:pt x="322" y="302"/>
                  </a:lnTo>
                  <a:lnTo>
                    <a:pt x="324" y="310"/>
                  </a:lnTo>
                  <a:lnTo>
                    <a:pt x="320" y="312"/>
                  </a:lnTo>
                  <a:lnTo>
                    <a:pt x="302" y="312"/>
                  </a:lnTo>
                  <a:lnTo>
                    <a:pt x="292" y="318"/>
                  </a:lnTo>
                  <a:lnTo>
                    <a:pt x="286" y="326"/>
                  </a:lnTo>
                  <a:lnTo>
                    <a:pt x="280" y="342"/>
                  </a:lnTo>
                  <a:lnTo>
                    <a:pt x="270" y="352"/>
                  </a:lnTo>
                  <a:lnTo>
                    <a:pt x="264" y="348"/>
                  </a:lnTo>
                  <a:lnTo>
                    <a:pt x="254" y="348"/>
                  </a:lnTo>
                  <a:lnTo>
                    <a:pt x="248" y="354"/>
                  </a:lnTo>
                  <a:lnTo>
                    <a:pt x="244" y="354"/>
                  </a:lnTo>
                  <a:lnTo>
                    <a:pt x="242" y="352"/>
                  </a:lnTo>
                  <a:lnTo>
                    <a:pt x="184" y="352"/>
                  </a:lnTo>
                  <a:lnTo>
                    <a:pt x="172" y="364"/>
                  </a:lnTo>
                  <a:lnTo>
                    <a:pt x="154" y="368"/>
                  </a:lnTo>
                  <a:lnTo>
                    <a:pt x="150" y="376"/>
                  </a:lnTo>
                  <a:lnTo>
                    <a:pt x="148" y="382"/>
                  </a:lnTo>
                  <a:lnTo>
                    <a:pt x="148" y="384"/>
                  </a:lnTo>
                  <a:lnTo>
                    <a:pt x="146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38" y="386"/>
                  </a:lnTo>
                  <a:lnTo>
                    <a:pt x="130" y="384"/>
                  </a:lnTo>
                  <a:lnTo>
                    <a:pt x="116" y="374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8"/>
                  </a:lnTo>
                  <a:lnTo>
                    <a:pt x="106" y="352"/>
                  </a:lnTo>
                  <a:lnTo>
                    <a:pt x="108" y="350"/>
                  </a:lnTo>
                  <a:lnTo>
                    <a:pt x="100" y="338"/>
                  </a:lnTo>
                  <a:lnTo>
                    <a:pt x="88" y="332"/>
                  </a:lnTo>
                  <a:lnTo>
                    <a:pt x="86" y="332"/>
                  </a:lnTo>
                  <a:lnTo>
                    <a:pt x="78" y="328"/>
                  </a:lnTo>
                  <a:lnTo>
                    <a:pt x="68" y="328"/>
                  </a:lnTo>
                  <a:lnTo>
                    <a:pt x="72" y="308"/>
                  </a:lnTo>
                  <a:lnTo>
                    <a:pt x="78" y="300"/>
                  </a:lnTo>
                  <a:lnTo>
                    <a:pt x="92" y="286"/>
                  </a:lnTo>
                  <a:lnTo>
                    <a:pt x="86" y="280"/>
                  </a:lnTo>
                  <a:lnTo>
                    <a:pt x="72" y="276"/>
                  </a:lnTo>
                  <a:lnTo>
                    <a:pt x="74" y="266"/>
                  </a:lnTo>
                  <a:lnTo>
                    <a:pt x="82" y="252"/>
                  </a:lnTo>
                  <a:lnTo>
                    <a:pt x="90" y="244"/>
                  </a:lnTo>
                  <a:lnTo>
                    <a:pt x="86" y="240"/>
                  </a:lnTo>
                  <a:lnTo>
                    <a:pt x="78" y="226"/>
                  </a:lnTo>
                  <a:lnTo>
                    <a:pt x="70" y="216"/>
                  </a:lnTo>
                  <a:lnTo>
                    <a:pt x="74" y="212"/>
                  </a:lnTo>
                  <a:lnTo>
                    <a:pt x="84" y="212"/>
                  </a:lnTo>
                  <a:lnTo>
                    <a:pt x="90" y="208"/>
                  </a:lnTo>
                  <a:lnTo>
                    <a:pt x="92" y="202"/>
                  </a:lnTo>
                  <a:lnTo>
                    <a:pt x="90" y="182"/>
                  </a:lnTo>
                  <a:lnTo>
                    <a:pt x="94" y="158"/>
                  </a:lnTo>
                  <a:lnTo>
                    <a:pt x="92" y="148"/>
                  </a:lnTo>
                  <a:lnTo>
                    <a:pt x="92" y="138"/>
                  </a:lnTo>
                  <a:lnTo>
                    <a:pt x="94" y="136"/>
                  </a:lnTo>
                  <a:lnTo>
                    <a:pt x="116" y="124"/>
                  </a:lnTo>
                  <a:lnTo>
                    <a:pt x="120" y="120"/>
                  </a:lnTo>
                  <a:lnTo>
                    <a:pt x="120" y="114"/>
                  </a:lnTo>
                  <a:lnTo>
                    <a:pt x="104" y="104"/>
                  </a:lnTo>
                  <a:lnTo>
                    <a:pt x="102" y="98"/>
                  </a:lnTo>
                  <a:lnTo>
                    <a:pt x="98" y="92"/>
                  </a:lnTo>
                  <a:lnTo>
                    <a:pt x="92" y="90"/>
                  </a:lnTo>
                  <a:lnTo>
                    <a:pt x="82" y="98"/>
                  </a:lnTo>
                  <a:lnTo>
                    <a:pt x="52" y="96"/>
                  </a:lnTo>
                  <a:lnTo>
                    <a:pt x="42" y="86"/>
                  </a:lnTo>
                  <a:lnTo>
                    <a:pt x="32" y="90"/>
                  </a:lnTo>
                  <a:lnTo>
                    <a:pt x="18" y="9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43" name="Gruppierung 1">
            <a:extLst>
              <a:ext uri="{FF2B5EF4-FFF2-40B4-BE49-F238E27FC236}">
                <a16:creationId xmlns:a16="http://schemas.microsoft.com/office/drawing/2014/main" id="{9FA60A4C-C4B4-41C7-B606-EAD9E833C208}"/>
              </a:ext>
            </a:extLst>
          </p:cNvPr>
          <p:cNvGrpSpPr/>
          <p:nvPr/>
        </p:nvGrpSpPr>
        <p:grpSpPr>
          <a:xfrm>
            <a:off x="4446454" y="1508477"/>
            <a:ext cx="4574211" cy="3243029"/>
            <a:chOff x="3781425" y="3570288"/>
            <a:chExt cx="3163888" cy="2243137"/>
          </a:xfrm>
        </p:grpSpPr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4FFB57DD-05C6-4241-AFB9-784801D278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84637" y="4457700"/>
              <a:ext cx="911225" cy="839787"/>
            </a:xfrm>
            <a:custGeom>
              <a:avLst/>
              <a:gdLst>
                <a:gd name="T0" fmla="*/ 2137 w 548"/>
                <a:gd name="T1" fmla="*/ 1240 h 542"/>
                <a:gd name="T2" fmla="*/ 2099 w 548"/>
                <a:gd name="T3" fmla="*/ 1402 h 542"/>
                <a:gd name="T4" fmla="*/ 2053 w 548"/>
                <a:gd name="T5" fmla="*/ 1360 h 542"/>
                <a:gd name="T6" fmla="*/ 2005 w 548"/>
                <a:gd name="T7" fmla="*/ 1329 h 542"/>
                <a:gd name="T8" fmla="*/ 1997 w 548"/>
                <a:gd name="T9" fmla="*/ 1297 h 542"/>
                <a:gd name="T10" fmla="*/ 2053 w 548"/>
                <a:gd name="T11" fmla="*/ 1231 h 542"/>
                <a:gd name="T12" fmla="*/ 2114 w 548"/>
                <a:gd name="T13" fmla="*/ 1217 h 542"/>
                <a:gd name="T14" fmla="*/ 428 w 548"/>
                <a:gd name="T15" fmla="*/ 1135 h 542"/>
                <a:gd name="T16" fmla="*/ 535 w 548"/>
                <a:gd name="T17" fmla="*/ 941 h 542"/>
                <a:gd name="T18" fmla="*/ 581 w 548"/>
                <a:gd name="T19" fmla="*/ 863 h 542"/>
                <a:gd name="T20" fmla="*/ 535 w 548"/>
                <a:gd name="T21" fmla="*/ 808 h 542"/>
                <a:gd name="T22" fmla="*/ 510 w 548"/>
                <a:gd name="T23" fmla="*/ 704 h 542"/>
                <a:gd name="T24" fmla="*/ 400 w 548"/>
                <a:gd name="T25" fmla="*/ 601 h 542"/>
                <a:gd name="T26" fmla="*/ 320 w 548"/>
                <a:gd name="T27" fmla="*/ 531 h 542"/>
                <a:gd name="T28" fmla="*/ 138 w 548"/>
                <a:gd name="T29" fmla="*/ 503 h 542"/>
                <a:gd name="T30" fmla="*/ 16 w 548"/>
                <a:gd name="T31" fmla="*/ 465 h 542"/>
                <a:gd name="T32" fmla="*/ 56 w 548"/>
                <a:gd name="T33" fmla="*/ 424 h 542"/>
                <a:gd name="T34" fmla="*/ 0 w 548"/>
                <a:gd name="T35" fmla="*/ 387 h 542"/>
                <a:gd name="T36" fmla="*/ 134 w 548"/>
                <a:gd name="T37" fmla="*/ 374 h 542"/>
                <a:gd name="T38" fmla="*/ 249 w 548"/>
                <a:gd name="T39" fmla="*/ 343 h 542"/>
                <a:gd name="T40" fmla="*/ 382 w 548"/>
                <a:gd name="T41" fmla="*/ 383 h 542"/>
                <a:gd name="T42" fmla="*/ 502 w 548"/>
                <a:gd name="T43" fmla="*/ 366 h 542"/>
                <a:gd name="T44" fmla="*/ 473 w 548"/>
                <a:gd name="T45" fmla="*/ 288 h 542"/>
                <a:gd name="T46" fmla="*/ 525 w 548"/>
                <a:gd name="T47" fmla="*/ 243 h 542"/>
                <a:gd name="T48" fmla="*/ 689 w 548"/>
                <a:gd name="T49" fmla="*/ 281 h 542"/>
                <a:gd name="T50" fmla="*/ 746 w 548"/>
                <a:gd name="T51" fmla="*/ 217 h 542"/>
                <a:gd name="T52" fmla="*/ 950 w 548"/>
                <a:gd name="T53" fmla="*/ 134 h 542"/>
                <a:gd name="T54" fmla="*/ 1083 w 548"/>
                <a:gd name="T55" fmla="*/ 2 h 542"/>
                <a:gd name="T56" fmla="*/ 1160 w 548"/>
                <a:gd name="T57" fmla="*/ 56 h 542"/>
                <a:gd name="T58" fmla="*/ 1260 w 548"/>
                <a:gd name="T59" fmla="*/ 91 h 542"/>
                <a:gd name="T60" fmla="*/ 1340 w 548"/>
                <a:gd name="T61" fmla="*/ 151 h 542"/>
                <a:gd name="T62" fmla="*/ 1417 w 548"/>
                <a:gd name="T63" fmla="*/ 177 h 542"/>
                <a:gd name="T64" fmla="*/ 1450 w 548"/>
                <a:gd name="T65" fmla="*/ 200 h 542"/>
                <a:gd name="T66" fmla="*/ 1591 w 548"/>
                <a:gd name="T67" fmla="*/ 240 h 542"/>
                <a:gd name="T68" fmla="*/ 1717 w 548"/>
                <a:gd name="T69" fmla="*/ 273 h 542"/>
                <a:gd name="T70" fmla="*/ 1819 w 548"/>
                <a:gd name="T71" fmla="*/ 296 h 542"/>
                <a:gd name="T72" fmla="*/ 1943 w 548"/>
                <a:gd name="T73" fmla="*/ 327 h 542"/>
                <a:gd name="T74" fmla="*/ 1849 w 548"/>
                <a:gd name="T75" fmla="*/ 462 h 542"/>
                <a:gd name="T76" fmla="*/ 1783 w 548"/>
                <a:gd name="T77" fmla="*/ 549 h 542"/>
                <a:gd name="T78" fmla="*/ 1760 w 548"/>
                <a:gd name="T79" fmla="*/ 569 h 542"/>
                <a:gd name="T80" fmla="*/ 1674 w 548"/>
                <a:gd name="T81" fmla="*/ 647 h 542"/>
                <a:gd name="T82" fmla="*/ 1612 w 548"/>
                <a:gd name="T83" fmla="*/ 735 h 542"/>
                <a:gd name="T84" fmla="*/ 1760 w 548"/>
                <a:gd name="T85" fmla="*/ 770 h 542"/>
                <a:gd name="T86" fmla="*/ 1769 w 548"/>
                <a:gd name="T87" fmla="*/ 859 h 542"/>
                <a:gd name="T88" fmla="*/ 1760 w 548"/>
                <a:gd name="T89" fmla="*/ 921 h 542"/>
                <a:gd name="T90" fmla="*/ 1803 w 548"/>
                <a:gd name="T91" fmla="*/ 1019 h 542"/>
                <a:gd name="T92" fmla="*/ 1819 w 548"/>
                <a:gd name="T93" fmla="*/ 1086 h 542"/>
                <a:gd name="T94" fmla="*/ 1591 w 548"/>
                <a:gd name="T95" fmla="*/ 1179 h 542"/>
                <a:gd name="T96" fmla="*/ 1436 w 548"/>
                <a:gd name="T97" fmla="*/ 1133 h 542"/>
                <a:gd name="T98" fmla="*/ 1238 w 548"/>
                <a:gd name="T99" fmla="*/ 1135 h 542"/>
                <a:gd name="T100" fmla="*/ 1184 w 548"/>
                <a:gd name="T101" fmla="*/ 1265 h 542"/>
                <a:gd name="T102" fmla="*/ 1041 w 548"/>
                <a:gd name="T103" fmla="*/ 1263 h 542"/>
                <a:gd name="T104" fmla="*/ 963 w 548"/>
                <a:gd name="T105" fmla="*/ 1256 h 542"/>
                <a:gd name="T106" fmla="*/ 829 w 548"/>
                <a:gd name="T107" fmla="*/ 1209 h 542"/>
                <a:gd name="T108" fmla="*/ 746 w 548"/>
                <a:gd name="T109" fmla="*/ 1225 h 542"/>
                <a:gd name="T110" fmla="*/ 649 w 548"/>
                <a:gd name="T111" fmla="*/ 1209 h 542"/>
                <a:gd name="T112" fmla="*/ 510 w 548"/>
                <a:gd name="T113" fmla="*/ 1174 h 542"/>
                <a:gd name="T114" fmla="*/ 493 w 548"/>
                <a:gd name="T115" fmla="*/ 1146 h 54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48"/>
                <a:gd name="T175" fmla="*/ 0 h 542"/>
                <a:gd name="T176" fmla="*/ 548 w 548"/>
                <a:gd name="T177" fmla="*/ 542 h 54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48" h="542">
                  <a:moveTo>
                    <a:pt x="542" y="456"/>
                  </a:moveTo>
                  <a:lnTo>
                    <a:pt x="544" y="460"/>
                  </a:lnTo>
                  <a:lnTo>
                    <a:pt x="546" y="468"/>
                  </a:lnTo>
                  <a:lnTo>
                    <a:pt x="544" y="478"/>
                  </a:lnTo>
                  <a:lnTo>
                    <a:pt x="546" y="480"/>
                  </a:lnTo>
                  <a:lnTo>
                    <a:pt x="548" y="488"/>
                  </a:lnTo>
                  <a:lnTo>
                    <a:pt x="546" y="506"/>
                  </a:lnTo>
                  <a:lnTo>
                    <a:pt x="542" y="514"/>
                  </a:lnTo>
                  <a:lnTo>
                    <a:pt x="540" y="530"/>
                  </a:lnTo>
                  <a:lnTo>
                    <a:pt x="536" y="542"/>
                  </a:lnTo>
                  <a:lnTo>
                    <a:pt x="530" y="540"/>
                  </a:lnTo>
                  <a:lnTo>
                    <a:pt x="530" y="536"/>
                  </a:lnTo>
                  <a:lnTo>
                    <a:pt x="522" y="534"/>
                  </a:lnTo>
                  <a:lnTo>
                    <a:pt x="518" y="530"/>
                  </a:lnTo>
                  <a:lnTo>
                    <a:pt x="524" y="526"/>
                  </a:lnTo>
                  <a:lnTo>
                    <a:pt x="522" y="524"/>
                  </a:lnTo>
                  <a:lnTo>
                    <a:pt x="514" y="522"/>
                  </a:lnTo>
                  <a:lnTo>
                    <a:pt x="518" y="514"/>
                  </a:lnTo>
                  <a:lnTo>
                    <a:pt x="516" y="512"/>
                  </a:lnTo>
                  <a:lnTo>
                    <a:pt x="512" y="514"/>
                  </a:lnTo>
                  <a:lnTo>
                    <a:pt x="512" y="510"/>
                  </a:lnTo>
                  <a:lnTo>
                    <a:pt x="516" y="506"/>
                  </a:lnTo>
                  <a:lnTo>
                    <a:pt x="514" y="504"/>
                  </a:lnTo>
                  <a:lnTo>
                    <a:pt x="510" y="502"/>
                  </a:lnTo>
                  <a:lnTo>
                    <a:pt x="510" y="498"/>
                  </a:lnTo>
                  <a:lnTo>
                    <a:pt x="514" y="494"/>
                  </a:lnTo>
                  <a:lnTo>
                    <a:pt x="510" y="490"/>
                  </a:lnTo>
                  <a:lnTo>
                    <a:pt x="514" y="482"/>
                  </a:lnTo>
                  <a:lnTo>
                    <a:pt x="524" y="476"/>
                  </a:lnTo>
                  <a:lnTo>
                    <a:pt x="528" y="476"/>
                  </a:lnTo>
                  <a:lnTo>
                    <a:pt x="530" y="472"/>
                  </a:lnTo>
                  <a:lnTo>
                    <a:pt x="534" y="472"/>
                  </a:lnTo>
                  <a:lnTo>
                    <a:pt x="538" y="474"/>
                  </a:lnTo>
                  <a:lnTo>
                    <a:pt x="540" y="470"/>
                  </a:lnTo>
                  <a:lnTo>
                    <a:pt x="538" y="462"/>
                  </a:lnTo>
                  <a:lnTo>
                    <a:pt x="540" y="456"/>
                  </a:lnTo>
                  <a:lnTo>
                    <a:pt x="542" y="456"/>
                  </a:lnTo>
                  <a:close/>
                  <a:moveTo>
                    <a:pt x="110" y="440"/>
                  </a:moveTo>
                  <a:lnTo>
                    <a:pt x="116" y="438"/>
                  </a:lnTo>
                  <a:lnTo>
                    <a:pt x="124" y="428"/>
                  </a:lnTo>
                  <a:lnTo>
                    <a:pt x="132" y="372"/>
                  </a:lnTo>
                  <a:lnTo>
                    <a:pt x="140" y="372"/>
                  </a:lnTo>
                  <a:lnTo>
                    <a:pt x="136" y="364"/>
                  </a:lnTo>
                  <a:lnTo>
                    <a:pt x="132" y="370"/>
                  </a:lnTo>
                  <a:lnTo>
                    <a:pt x="134" y="342"/>
                  </a:lnTo>
                  <a:lnTo>
                    <a:pt x="138" y="322"/>
                  </a:lnTo>
                  <a:lnTo>
                    <a:pt x="140" y="326"/>
                  </a:lnTo>
                  <a:lnTo>
                    <a:pt x="148" y="334"/>
                  </a:lnTo>
                  <a:lnTo>
                    <a:pt x="152" y="342"/>
                  </a:lnTo>
                  <a:lnTo>
                    <a:pt x="156" y="348"/>
                  </a:lnTo>
                  <a:lnTo>
                    <a:pt x="150" y="332"/>
                  </a:lnTo>
                  <a:lnTo>
                    <a:pt x="140" y="318"/>
                  </a:lnTo>
                  <a:lnTo>
                    <a:pt x="136" y="312"/>
                  </a:lnTo>
                  <a:lnTo>
                    <a:pt x="136" y="306"/>
                  </a:lnTo>
                  <a:lnTo>
                    <a:pt x="142" y="294"/>
                  </a:lnTo>
                  <a:lnTo>
                    <a:pt x="138" y="284"/>
                  </a:lnTo>
                  <a:lnTo>
                    <a:pt x="136" y="278"/>
                  </a:lnTo>
                  <a:lnTo>
                    <a:pt x="130" y="272"/>
                  </a:lnTo>
                  <a:lnTo>
                    <a:pt x="118" y="270"/>
                  </a:lnTo>
                  <a:lnTo>
                    <a:pt x="108" y="256"/>
                  </a:lnTo>
                  <a:lnTo>
                    <a:pt x="102" y="248"/>
                  </a:lnTo>
                  <a:lnTo>
                    <a:pt x="106" y="236"/>
                  </a:lnTo>
                  <a:lnTo>
                    <a:pt x="102" y="232"/>
                  </a:lnTo>
                  <a:lnTo>
                    <a:pt x="96" y="228"/>
                  </a:lnTo>
                  <a:lnTo>
                    <a:pt x="88" y="226"/>
                  </a:lnTo>
                  <a:lnTo>
                    <a:pt x="84" y="220"/>
                  </a:lnTo>
                  <a:lnTo>
                    <a:pt x="88" y="210"/>
                  </a:lnTo>
                  <a:lnTo>
                    <a:pt x="82" y="206"/>
                  </a:lnTo>
                  <a:lnTo>
                    <a:pt x="74" y="212"/>
                  </a:lnTo>
                  <a:lnTo>
                    <a:pt x="66" y="204"/>
                  </a:lnTo>
                  <a:lnTo>
                    <a:pt x="52" y="198"/>
                  </a:lnTo>
                  <a:lnTo>
                    <a:pt x="40" y="194"/>
                  </a:lnTo>
                  <a:lnTo>
                    <a:pt x="36" y="194"/>
                  </a:lnTo>
                  <a:lnTo>
                    <a:pt x="32" y="188"/>
                  </a:lnTo>
                  <a:lnTo>
                    <a:pt x="16" y="192"/>
                  </a:lnTo>
                  <a:lnTo>
                    <a:pt x="14" y="186"/>
                  </a:lnTo>
                  <a:lnTo>
                    <a:pt x="10" y="182"/>
                  </a:lnTo>
                  <a:lnTo>
                    <a:pt x="4" y="180"/>
                  </a:lnTo>
                  <a:lnTo>
                    <a:pt x="2" y="178"/>
                  </a:lnTo>
                  <a:lnTo>
                    <a:pt x="18" y="176"/>
                  </a:lnTo>
                  <a:lnTo>
                    <a:pt x="16" y="170"/>
                  </a:lnTo>
                  <a:lnTo>
                    <a:pt x="6" y="168"/>
                  </a:lnTo>
                  <a:lnTo>
                    <a:pt x="14" y="164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6" y="160"/>
                  </a:lnTo>
                  <a:lnTo>
                    <a:pt x="0" y="162"/>
                  </a:lnTo>
                  <a:lnTo>
                    <a:pt x="0" y="150"/>
                  </a:lnTo>
                  <a:lnTo>
                    <a:pt x="6" y="150"/>
                  </a:lnTo>
                  <a:lnTo>
                    <a:pt x="10" y="146"/>
                  </a:lnTo>
                  <a:lnTo>
                    <a:pt x="20" y="144"/>
                  </a:lnTo>
                  <a:lnTo>
                    <a:pt x="30" y="140"/>
                  </a:lnTo>
                  <a:lnTo>
                    <a:pt x="34" y="144"/>
                  </a:lnTo>
                  <a:lnTo>
                    <a:pt x="36" y="140"/>
                  </a:lnTo>
                  <a:lnTo>
                    <a:pt x="44" y="142"/>
                  </a:lnTo>
                  <a:lnTo>
                    <a:pt x="46" y="136"/>
                  </a:lnTo>
                  <a:lnTo>
                    <a:pt x="52" y="134"/>
                  </a:lnTo>
                  <a:lnTo>
                    <a:pt x="64" y="132"/>
                  </a:lnTo>
                  <a:lnTo>
                    <a:pt x="72" y="142"/>
                  </a:lnTo>
                  <a:lnTo>
                    <a:pt x="76" y="148"/>
                  </a:lnTo>
                  <a:lnTo>
                    <a:pt x="82" y="150"/>
                  </a:lnTo>
                  <a:lnTo>
                    <a:pt x="94" y="144"/>
                  </a:lnTo>
                  <a:lnTo>
                    <a:pt x="98" y="148"/>
                  </a:lnTo>
                  <a:lnTo>
                    <a:pt x="104" y="144"/>
                  </a:lnTo>
                  <a:lnTo>
                    <a:pt x="112" y="142"/>
                  </a:lnTo>
                  <a:lnTo>
                    <a:pt x="112" y="146"/>
                  </a:lnTo>
                  <a:lnTo>
                    <a:pt x="122" y="144"/>
                  </a:lnTo>
                  <a:lnTo>
                    <a:pt x="128" y="142"/>
                  </a:lnTo>
                  <a:lnTo>
                    <a:pt x="122" y="138"/>
                  </a:lnTo>
                  <a:lnTo>
                    <a:pt x="122" y="132"/>
                  </a:lnTo>
                  <a:lnTo>
                    <a:pt x="124" y="122"/>
                  </a:lnTo>
                  <a:lnTo>
                    <a:pt x="122" y="110"/>
                  </a:lnTo>
                  <a:lnTo>
                    <a:pt x="120" y="112"/>
                  </a:lnTo>
                  <a:lnTo>
                    <a:pt x="110" y="94"/>
                  </a:lnTo>
                  <a:lnTo>
                    <a:pt x="108" y="82"/>
                  </a:lnTo>
                  <a:lnTo>
                    <a:pt x="124" y="86"/>
                  </a:lnTo>
                  <a:lnTo>
                    <a:pt x="136" y="84"/>
                  </a:lnTo>
                  <a:lnTo>
                    <a:pt x="134" y="94"/>
                  </a:lnTo>
                  <a:lnTo>
                    <a:pt x="138" y="104"/>
                  </a:lnTo>
                  <a:lnTo>
                    <a:pt x="144" y="100"/>
                  </a:lnTo>
                  <a:lnTo>
                    <a:pt x="166" y="104"/>
                  </a:lnTo>
                  <a:lnTo>
                    <a:pt x="174" y="108"/>
                  </a:lnTo>
                  <a:lnTo>
                    <a:pt x="176" y="108"/>
                  </a:lnTo>
                  <a:lnTo>
                    <a:pt x="184" y="104"/>
                  </a:lnTo>
                  <a:lnTo>
                    <a:pt x="196" y="98"/>
                  </a:lnTo>
                  <a:lnTo>
                    <a:pt x="186" y="94"/>
                  </a:lnTo>
                  <a:lnTo>
                    <a:pt x="188" y="88"/>
                  </a:lnTo>
                  <a:lnTo>
                    <a:pt x="190" y="84"/>
                  </a:lnTo>
                  <a:lnTo>
                    <a:pt x="204" y="76"/>
                  </a:lnTo>
                  <a:lnTo>
                    <a:pt x="216" y="70"/>
                  </a:lnTo>
                  <a:lnTo>
                    <a:pt x="232" y="64"/>
                  </a:lnTo>
                  <a:lnTo>
                    <a:pt x="238" y="58"/>
                  </a:lnTo>
                  <a:lnTo>
                    <a:pt x="242" y="52"/>
                  </a:lnTo>
                  <a:lnTo>
                    <a:pt x="242" y="30"/>
                  </a:lnTo>
                  <a:lnTo>
                    <a:pt x="244" y="16"/>
                  </a:lnTo>
                  <a:lnTo>
                    <a:pt x="254" y="8"/>
                  </a:lnTo>
                  <a:lnTo>
                    <a:pt x="260" y="4"/>
                  </a:lnTo>
                  <a:lnTo>
                    <a:pt x="276" y="2"/>
                  </a:lnTo>
                  <a:lnTo>
                    <a:pt x="280" y="0"/>
                  </a:lnTo>
                  <a:lnTo>
                    <a:pt x="284" y="12"/>
                  </a:lnTo>
                  <a:lnTo>
                    <a:pt x="288" y="20"/>
                  </a:lnTo>
                  <a:lnTo>
                    <a:pt x="294" y="24"/>
                  </a:lnTo>
                  <a:lnTo>
                    <a:pt x="296" y="22"/>
                  </a:lnTo>
                  <a:lnTo>
                    <a:pt x="304" y="16"/>
                  </a:lnTo>
                  <a:lnTo>
                    <a:pt x="306" y="22"/>
                  </a:lnTo>
                  <a:lnTo>
                    <a:pt x="310" y="34"/>
                  </a:lnTo>
                  <a:lnTo>
                    <a:pt x="312" y="36"/>
                  </a:lnTo>
                  <a:lnTo>
                    <a:pt x="322" y="36"/>
                  </a:lnTo>
                  <a:lnTo>
                    <a:pt x="324" y="46"/>
                  </a:lnTo>
                  <a:lnTo>
                    <a:pt x="328" y="44"/>
                  </a:lnTo>
                  <a:lnTo>
                    <a:pt x="338" y="46"/>
                  </a:lnTo>
                  <a:lnTo>
                    <a:pt x="344" y="50"/>
                  </a:lnTo>
                  <a:lnTo>
                    <a:pt x="342" y="58"/>
                  </a:lnTo>
                  <a:lnTo>
                    <a:pt x="344" y="62"/>
                  </a:lnTo>
                  <a:lnTo>
                    <a:pt x="342" y="68"/>
                  </a:lnTo>
                  <a:lnTo>
                    <a:pt x="348" y="70"/>
                  </a:lnTo>
                  <a:lnTo>
                    <a:pt x="354" y="68"/>
                  </a:lnTo>
                  <a:lnTo>
                    <a:pt x="362" y="68"/>
                  </a:lnTo>
                  <a:lnTo>
                    <a:pt x="366" y="60"/>
                  </a:lnTo>
                  <a:lnTo>
                    <a:pt x="370" y="58"/>
                  </a:lnTo>
                  <a:lnTo>
                    <a:pt x="368" y="68"/>
                  </a:lnTo>
                  <a:lnTo>
                    <a:pt x="370" y="72"/>
                  </a:lnTo>
                  <a:lnTo>
                    <a:pt x="370" y="78"/>
                  </a:lnTo>
                  <a:lnTo>
                    <a:pt x="380" y="80"/>
                  </a:lnTo>
                  <a:lnTo>
                    <a:pt x="384" y="84"/>
                  </a:lnTo>
                  <a:lnTo>
                    <a:pt x="392" y="90"/>
                  </a:lnTo>
                  <a:lnTo>
                    <a:pt x="394" y="96"/>
                  </a:lnTo>
                  <a:lnTo>
                    <a:pt x="406" y="92"/>
                  </a:lnTo>
                  <a:lnTo>
                    <a:pt x="406" y="94"/>
                  </a:lnTo>
                  <a:lnTo>
                    <a:pt x="418" y="96"/>
                  </a:lnTo>
                  <a:lnTo>
                    <a:pt x="428" y="96"/>
                  </a:lnTo>
                  <a:lnTo>
                    <a:pt x="430" y="98"/>
                  </a:lnTo>
                  <a:lnTo>
                    <a:pt x="438" y="106"/>
                  </a:lnTo>
                  <a:lnTo>
                    <a:pt x="444" y="114"/>
                  </a:lnTo>
                  <a:lnTo>
                    <a:pt x="450" y="112"/>
                  </a:lnTo>
                  <a:lnTo>
                    <a:pt x="452" y="116"/>
                  </a:lnTo>
                  <a:lnTo>
                    <a:pt x="464" y="114"/>
                  </a:lnTo>
                  <a:lnTo>
                    <a:pt x="468" y="114"/>
                  </a:lnTo>
                  <a:lnTo>
                    <a:pt x="470" y="118"/>
                  </a:lnTo>
                  <a:lnTo>
                    <a:pt x="478" y="120"/>
                  </a:lnTo>
                  <a:lnTo>
                    <a:pt x="486" y="120"/>
                  </a:lnTo>
                  <a:lnTo>
                    <a:pt x="496" y="126"/>
                  </a:lnTo>
                  <a:lnTo>
                    <a:pt x="480" y="146"/>
                  </a:lnTo>
                  <a:lnTo>
                    <a:pt x="478" y="152"/>
                  </a:lnTo>
                  <a:lnTo>
                    <a:pt x="478" y="162"/>
                  </a:lnTo>
                  <a:lnTo>
                    <a:pt x="472" y="170"/>
                  </a:lnTo>
                  <a:lnTo>
                    <a:pt x="472" y="178"/>
                  </a:lnTo>
                  <a:lnTo>
                    <a:pt x="472" y="180"/>
                  </a:lnTo>
                  <a:lnTo>
                    <a:pt x="468" y="198"/>
                  </a:lnTo>
                  <a:lnTo>
                    <a:pt x="472" y="204"/>
                  </a:lnTo>
                  <a:lnTo>
                    <a:pt x="464" y="212"/>
                  </a:lnTo>
                  <a:lnTo>
                    <a:pt x="456" y="212"/>
                  </a:lnTo>
                  <a:lnTo>
                    <a:pt x="456" y="210"/>
                  </a:lnTo>
                  <a:lnTo>
                    <a:pt x="450" y="210"/>
                  </a:lnTo>
                  <a:lnTo>
                    <a:pt x="446" y="218"/>
                  </a:lnTo>
                  <a:lnTo>
                    <a:pt x="448" y="218"/>
                  </a:lnTo>
                  <a:lnTo>
                    <a:pt x="450" y="220"/>
                  </a:lnTo>
                  <a:lnTo>
                    <a:pt x="446" y="222"/>
                  </a:lnTo>
                  <a:lnTo>
                    <a:pt x="438" y="234"/>
                  </a:lnTo>
                  <a:lnTo>
                    <a:pt x="438" y="236"/>
                  </a:lnTo>
                  <a:lnTo>
                    <a:pt x="428" y="242"/>
                  </a:lnTo>
                  <a:lnTo>
                    <a:pt x="428" y="250"/>
                  </a:lnTo>
                  <a:lnTo>
                    <a:pt x="416" y="260"/>
                  </a:lnTo>
                  <a:lnTo>
                    <a:pt x="414" y="268"/>
                  </a:lnTo>
                  <a:lnTo>
                    <a:pt x="416" y="272"/>
                  </a:lnTo>
                  <a:lnTo>
                    <a:pt x="416" y="280"/>
                  </a:lnTo>
                  <a:lnTo>
                    <a:pt x="412" y="284"/>
                  </a:lnTo>
                  <a:lnTo>
                    <a:pt x="418" y="288"/>
                  </a:lnTo>
                  <a:lnTo>
                    <a:pt x="432" y="270"/>
                  </a:lnTo>
                  <a:lnTo>
                    <a:pt x="442" y="268"/>
                  </a:lnTo>
                  <a:lnTo>
                    <a:pt x="448" y="288"/>
                  </a:lnTo>
                  <a:lnTo>
                    <a:pt x="450" y="298"/>
                  </a:lnTo>
                  <a:lnTo>
                    <a:pt x="440" y="306"/>
                  </a:lnTo>
                  <a:lnTo>
                    <a:pt x="448" y="314"/>
                  </a:lnTo>
                  <a:lnTo>
                    <a:pt x="450" y="322"/>
                  </a:lnTo>
                  <a:lnTo>
                    <a:pt x="456" y="326"/>
                  </a:lnTo>
                  <a:lnTo>
                    <a:pt x="452" y="332"/>
                  </a:lnTo>
                  <a:lnTo>
                    <a:pt x="444" y="342"/>
                  </a:lnTo>
                  <a:lnTo>
                    <a:pt x="440" y="338"/>
                  </a:lnTo>
                  <a:lnTo>
                    <a:pt x="432" y="344"/>
                  </a:lnTo>
                  <a:lnTo>
                    <a:pt x="440" y="352"/>
                  </a:lnTo>
                  <a:lnTo>
                    <a:pt x="450" y="356"/>
                  </a:lnTo>
                  <a:lnTo>
                    <a:pt x="452" y="364"/>
                  </a:lnTo>
                  <a:lnTo>
                    <a:pt x="450" y="364"/>
                  </a:lnTo>
                  <a:lnTo>
                    <a:pt x="444" y="374"/>
                  </a:lnTo>
                  <a:lnTo>
                    <a:pt x="446" y="384"/>
                  </a:lnTo>
                  <a:lnTo>
                    <a:pt x="460" y="394"/>
                  </a:lnTo>
                  <a:lnTo>
                    <a:pt x="474" y="392"/>
                  </a:lnTo>
                  <a:lnTo>
                    <a:pt x="476" y="398"/>
                  </a:lnTo>
                  <a:lnTo>
                    <a:pt x="474" y="410"/>
                  </a:lnTo>
                  <a:lnTo>
                    <a:pt x="468" y="416"/>
                  </a:lnTo>
                  <a:lnTo>
                    <a:pt x="464" y="420"/>
                  </a:lnTo>
                  <a:lnTo>
                    <a:pt x="450" y="432"/>
                  </a:lnTo>
                  <a:lnTo>
                    <a:pt x="434" y="448"/>
                  </a:lnTo>
                  <a:lnTo>
                    <a:pt x="426" y="450"/>
                  </a:lnTo>
                  <a:lnTo>
                    <a:pt x="420" y="452"/>
                  </a:lnTo>
                  <a:lnTo>
                    <a:pt x="406" y="456"/>
                  </a:lnTo>
                  <a:lnTo>
                    <a:pt x="400" y="454"/>
                  </a:lnTo>
                  <a:lnTo>
                    <a:pt x="392" y="450"/>
                  </a:lnTo>
                  <a:lnTo>
                    <a:pt x="378" y="438"/>
                  </a:lnTo>
                  <a:lnTo>
                    <a:pt x="372" y="436"/>
                  </a:lnTo>
                  <a:lnTo>
                    <a:pt x="366" y="438"/>
                  </a:lnTo>
                  <a:lnTo>
                    <a:pt x="362" y="440"/>
                  </a:lnTo>
                  <a:lnTo>
                    <a:pt x="352" y="438"/>
                  </a:lnTo>
                  <a:lnTo>
                    <a:pt x="340" y="430"/>
                  </a:lnTo>
                  <a:lnTo>
                    <a:pt x="330" y="432"/>
                  </a:lnTo>
                  <a:lnTo>
                    <a:pt x="316" y="440"/>
                  </a:lnTo>
                  <a:lnTo>
                    <a:pt x="310" y="446"/>
                  </a:lnTo>
                  <a:lnTo>
                    <a:pt x="300" y="458"/>
                  </a:lnTo>
                  <a:lnTo>
                    <a:pt x="298" y="468"/>
                  </a:lnTo>
                  <a:lnTo>
                    <a:pt x="300" y="480"/>
                  </a:lnTo>
                  <a:lnTo>
                    <a:pt x="302" y="490"/>
                  </a:lnTo>
                  <a:lnTo>
                    <a:pt x="296" y="486"/>
                  </a:lnTo>
                  <a:lnTo>
                    <a:pt x="282" y="490"/>
                  </a:lnTo>
                  <a:lnTo>
                    <a:pt x="282" y="494"/>
                  </a:lnTo>
                  <a:lnTo>
                    <a:pt x="274" y="492"/>
                  </a:lnTo>
                  <a:lnTo>
                    <a:pt x="266" y="488"/>
                  </a:lnTo>
                  <a:lnTo>
                    <a:pt x="260" y="492"/>
                  </a:lnTo>
                  <a:lnTo>
                    <a:pt x="256" y="492"/>
                  </a:lnTo>
                  <a:lnTo>
                    <a:pt x="254" y="488"/>
                  </a:lnTo>
                  <a:lnTo>
                    <a:pt x="248" y="486"/>
                  </a:lnTo>
                  <a:lnTo>
                    <a:pt x="246" y="486"/>
                  </a:lnTo>
                  <a:lnTo>
                    <a:pt x="238" y="488"/>
                  </a:lnTo>
                  <a:lnTo>
                    <a:pt x="236" y="486"/>
                  </a:lnTo>
                  <a:lnTo>
                    <a:pt x="234" y="480"/>
                  </a:lnTo>
                  <a:lnTo>
                    <a:pt x="234" y="476"/>
                  </a:lnTo>
                  <a:lnTo>
                    <a:pt x="212" y="468"/>
                  </a:lnTo>
                  <a:lnTo>
                    <a:pt x="206" y="468"/>
                  </a:lnTo>
                  <a:lnTo>
                    <a:pt x="206" y="476"/>
                  </a:lnTo>
                  <a:lnTo>
                    <a:pt x="196" y="476"/>
                  </a:lnTo>
                  <a:lnTo>
                    <a:pt x="190" y="476"/>
                  </a:lnTo>
                  <a:lnTo>
                    <a:pt x="190" y="474"/>
                  </a:lnTo>
                  <a:lnTo>
                    <a:pt x="176" y="474"/>
                  </a:lnTo>
                  <a:lnTo>
                    <a:pt x="176" y="472"/>
                  </a:lnTo>
                  <a:lnTo>
                    <a:pt x="174" y="470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0" y="468"/>
                  </a:lnTo>
                  <a:lnTo>
                    <a:pt x="160" y="470"/>
                  </a:lnTo>
                  <a:lnTo>
                    <a:pt x="150" y="460"/>
                  </a:lnTo>
                  <a:lnTo>
                    <a:pt x="148" y="462"/>
                  </a:lnTo>
                  <a:lnTo>
                    <a:pt x="130" y="454"/>
                  </a:lnTo>
                  <a:lnTo>
                    <a:pt x="128" y="456"/>
                  </a:lnTo>
                  <a:lnTo>
                    <a:pt x="124" y="456"/>
                  </a:lnTo>
                  <a:lnTo>
                    <a:pt x="124" y="454"/>
                  </a:lnTo>
                  <a:lnTo>
                    <a:pt x="126" y="448"/>
                  </a:lnTo>
                  <a:lnTo>
                    <a:pt x="126" y="444"/>
                  </a:lnTo>
                  <a:lnTo>
                    <a:pt x="118" y="446"/>
                  </a:lnTo>
                  <a:lnTo>
                    <a:pt x="110" y="44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D85646F4-8F54-41DB-BF71-5BBD6C3099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902200" y="3768725"/>
              <a:ext cx="284162" cy="311150"/>
            </a:xfrm>
            <a:custGeom>
              <a:avLst/>
              <a:gdLst>
                <a:gd name="T0" fmla="*/ 48 w 170"/>
                <a:gd name="T1" fmla="*/ 139 h 200"/>
                <a:gd name="T2" fmla="*/ 96 w 170"/>
                <a:gd name="T3" fmla="*/ 120 h 200"/>
                <a:gd name="T4" fmla="*/ 191 w 170"/>
                <a:gd name="T5" fmla="*/ 110 h 200"/>
                <a:gd name="T6" fmla="*/ 279 w 170"/>
                <a:gd name="T7" fmla="*/ 31 h 200"/>
                <a:gd name="T8" fmla="*/ 356 w 170"/>
                <a:gd name="T9" fmla="*/ 21 h 200"/>
                <a:gd name="T10" fmla="*/ 380 w 170"/>
                <a:gd name="T11" fmla="*/ 0 h 200"/>
                <a:gd name="T12" fmla="*/ 368 w 170"/>
                <a:gd name="T13" fmla="*/ 58 h 200"/>
                <a:gd name="T14" fmla="*/ 351 w 170"/>
                <a:gd name="T15" fmla="*/ 110 h 200"/>
                <a:gd name="T16" fmla="*/ 222 w 170"/>
                <a:gd name="T17" fmla="*/ 149 h 200"/>
                <a:gd name="T18" fmla="*/ 167 w 170"/>
                <a:gd name="T19" fmla="*/ 141 h 200"/>
                <a:gd name="T20" fmla="*/ 145 w 170"/>
                <a:gd name="T21" fmla="*/ 141 h 200"/>
                <a:gd name="T22" fmla="*/ 110 w 170"/>
                <a:gd name="T23" fmla="*/ 179 h 200"/>
                <a:gd name="T24" fmla="*/ 74 w 170"/>
                <a:gd name="T25" fmla="*/ 206 h 200"/>
                <a:gd name="T26" fmla="*/ 48 w 170"/>
                <a:gd name="T27" fmla="*/ 206 h 200"/>
                <a:gd name="T28" fmla="*/ 25 w 170"/>
                <a:gd name="T29" fmla="*/ 179 h 200"/>
                <a:gd name="T30" fmla="*/ 588 w 170"/>
                <a:gd name="T31" fmla="*/ 499 h 200"/>
                <a:gd name="T32" fmla="*/ 540 w 170"/>
                <a:gd name="T33" fmla="*/ 475 h 200"/>
                <a:gd name="T34" fmla="*/ 486 w 170"/>
                <a:gd name="T35" fmla="*/ 439 h 200"/>
                <a:gd name="T36" fmla="*/ 492 w 170"/>
                <a:gd name="T37" fmla="*/ 384 h 200"/>
                <a:gd name="T38" fmla="*/ 564 w 170"/>
                <a:gd name="T39" fmla="*/ 384 h 200"/>
                <a:gd name="T40" fmla="*/ 612 w 170"/>
                <a:gd name="T41" fmla="*/ 380 h 200"/>
                <a:gd name="T42" fmla="*/ 634 w 170"/>
                <a:gd name="T43" fmla="*/ 327 h 200"/>
                <a:gd name="T44" fmla="*/ 677 w 170"/>
                <a:gd name="T45" fmla="*/ 380 h 200"/>
                <a:gd name="T46" fmla="*/ 661 w 170"/>
                <a:gd name="T47" fmla="*/ 410 h 200"/>
                <a:gd name="T48" fmla="*/ 668 w 170"/>
                <a:gd name="T49" fmla="*/ 457 h 200"/>
                <a:gd name="T50" fmla="*/ 612 w 170"/>
                <a:gd name="T51" fmla="*/ 508 h 200"/>
                <a:gd name="T52" fmla="*/ 599 w 170"/>
                <a:gd name="T53" fmla="*/ 511 h 200"/>
                <a:gd name="T54" fmla="*/ 96 w 170"/>
                <a:gd name="T55" fmla="*/ 526 h 200"/>
                <a:gd name="T56" fmla="*/ 87 w 170"/>
                <a:gd name="T57" fmla="*/ 490 h 200"/>
                <a:gd name="T58" fmla="*/ 62 w 170"/>
                <a:gd name="T59" fmla="*/ 439 h 200"/>
                <a:gd name="T60" fmla="*/ 25 w 170"/>
                <a:gd name="T61" fmla="*/ 434 h 200"/>
                <a:gd name="T62" fmla="*/ 16 w 170"/>
                <a:gd name="T63" fmla="*/ 389 h 200"/>
                <a:gd name="T64" fmla="*/ 39 w 170"/>
                <a:gd name="T65" fmla="*/ 350 h 200"/>
                <a:gd name="T66" fmla="*/ 16 w 170"/>
                <a:gd name="T67" fmla="*/ 290 h 200"/>
                <a:gd name="T68" fmla="*/ 39 w 170"/>
                <a:gd name="T69" fmla="*/ 239 h 200"/>
                <a:gd name="T70" fmla="*/ 96 w 170"/>
                <a:gd name="T71" fmla="*/ 258 h 200"/>
                <a:gd name="T72" fmla="*/ 145 w 170"/>
                <a:gd name="T73" fmla="*/ 206 h 200"/>
                <a:gd name="T74" fmla="*/ 191 w 170"/>
                <a:gd name="T75" fmla="*/ 239 h 200"/>
                <a:gd name="T76" fmla="*/ 198 w 170"/>
                <a:gd name="T77" fmla="*/ 165 h 200"/>
                <a:gd name="T78" fmla="*/ 332 w 170"/>
                <a:gd name="T79" fmla="*/ 167 h 200"/>
                <a:gd name="T80" fmla="*/ 351 w 170"/>
                <a:gd name="T81" fmla="*/ 242 h 200"/>
                <a:gd name="T82" fmla="*/ 437 w 170"/>
                <a:gd name="T83" fmla="*/ 258 h 200"/>
                <a:gd name="T84" fmla="*/ 375 w 170"/>
                <a:gd name="T85" fmla="*/ 318 h 200"/>
                <a:gd name="T86" fmla="*/ 341 w 170"/>
                <a:gd name="T87" fmla="*/ 298 h 200"/>
                <a:gd name="T88" fmla="*/ 332 w 170"/>
                <a:gd name="T89" fmla="*/ 331 h 200"/>
                <a:gd name="T90" fmla="*/ 302 w 170"/>
                <a:gd name="T91" fmla="*/ 372 h 200"/>
                <a:gd name="T92" fmla="*/ 256 w 170"/>
                <a:gd name="T93" fmla="*/ 395 h 200"/>
                <a:gd name="T94" fmla="*/ 240 w 170"/>
                <a:gd name="T95" fmla="*/ 423 h 200"/>
                <a:gd name="T96" fmla="*/ 222 w 170"/>
                <a:gd name="T97" fmla="*/ 464 h 200"/>
                <a:gd name="T98" fmla="*/ 206 w 170"/>
                <a:gd name="T99" fmla="*/ 508 h 200"/>
                <a:gd name="T100" fmla="*/ 222 w 170"/>
                <a:gd name="T101" fmla="*/ 513 h 20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0"/>
                <a:gd name="T154" fmla="*/ 0 h 200"/>
                <a:gd name="T155" fmla="*/ 170 w 170"/>
                <a:gd name="T156" fmla="*/ 200 h 20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0" h="200">
                  <a:moveTo>
                    <a:pt x="6" y="68"/>
                  </a:moveTo>
                  <a:lnTo>
                    <a:pt x="12" y="52"/>
                  </a:lnTo>
                  <a:lnTo>
                    <a:pt x="18" y="44"/>
                  </a:lnTo>
                  <a:lnTo>
                    <a:pt x="24" y="46"/>
                  </a:lnTo>
                  <a:lnTo>
                    <a:pt x="34" y="44"/>
                  </a:lnTo>
                  <a:lnTo>
                    <a:pt x="48" y="42"/>
                  </a:lnTo>
                  <a:lnTo>
                    <a:pt x="54" y="38"/>
                  </a:lnTo>
                  <a:lnTo>
                    <a:pt x="70" y="12"/>
                  </a:lnTo>
                  <a:lnTo>
                    <a:pt x="86" y="6"/>
                  </a:lnTo>
                  <a:lnTo>
                    <a:pt x="90" y="8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0" y="18"/>
                  </a:lnTo>
                  <a:lnTo>
                    <a:pt x="92" y="22"/>
                  </a:lnTo>
                  <a:lnTo>
                    <a:pt x="94" y="36"/>
                  </a:lnTo>
                  <a:lnTo>
                    <a:pt x="88" y="42"/>
                  </a:lnTo>
                  <a:lnTo>
                    <a:pt x="84" y="54"/>
                  </a:lnTo>
                  <a:lnTo>
                    <a:pt x="56" y="56"/>
                  </a:lnTo>
                  <a:lnTo>
                    <a:pt x="50" y="52"/>
                  </a:lnTo>
                  <a:lnTo>
                    <a:pt x="42" y="54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0" y="54"/>
                  </a:lnTo>
                  <a:lnTo>
                    <a:pt x="28" y="68"/>
                  </a:lnTo>
                  <a:lnTo>
                    <a:pt x="24" y="74"/>
                  </a:lnTo>
                  <a:lnTo>
                    <a:pt x="18" y="78"/>
                  </a:lnTo>
                  <a:lnTo>
                    <a:pt x="16" y="82"/>
                  </a:lnTo>
                  <a:lnTo>
                    <a:pt x="12" y="78"/>
                  </a:lnTo>
                  <a:lnTo>
                    <a:pt x="6" y="68"/>
                  </a:lnTo>
                  <a:close/>
                  <a:moveTo>
                    <a:pt x="150" y="194"/>
                  </a:moveTo>
                  <a:lnTo>
                    <a:pt x="148" y="190"/>
                  </a:lnTo>
                  <a:lnTo>
                    <a:pt x="142" y="180"/>
                  </a:lnTo>
                  <a:lnTo>
                    <a:pt x="136" y="180"/>
                  </a:lnTo>
                  <a:lnTo>
                    <a:pt x="124" y="178"/>
                  </a:lnTo>
                  <a:lnTo>
                    <a:pt x="122" y="168"/>
                  </a:lnTo>
                  <a:lnTo>
                    <a:pt x="118" y="148"/>
                  </a:lnTo>
                  <a:lnTo>
                    <a:pt x="124" y="146"/>
                  </a:lnTo>
                  <a:lnTo>
                    <a:pt x="136" y="132"/>
                  </a:lnTo>
                  <a:lnTo>
                    <a:pt x="142" y="146"/>
                  </a:lnTo>
                  <a:lnTo>
                    <a:pt x="150" y="152"/>
                  </a:lnTo>
                  <a:lnTo>
                    <a:pt x="154" y="144"/>
                  </a:lnTo>
                  <a:lnTo>
                    <a:pt x="156" y="126"/>
                  </a:lnTo>
                  <a:lnTo>
                    <a:pt x="160" y="124"/>
                  </a:lnTo>
                  <a:lnTo>
                    <a:pt x="168" y="126"/>
                  </a:lnTo>
                  <a:lnTo>
                    <a:pt x="170" y="144"/>
                  </a:lnTo>
                  <a:lnTo>
                    <a:pt x="168" y="154"/>
                  </a:lnTo>
                  <a:lnTo>
                    <a:pt x="166" y="156"/>
                  </a:lnTo>
                  <a:lnTo>
                    <a:pt x="158" y="166"/>
                  </a:lnTo>
                  <a:lnTo>
                    <a:pt x="168" y="174"/>
                  </a:lnTo>
                  <a:lnTo>
                    <a:pt x="164" y="180"/>
                  </a:lnTo>
                  <a:lnTo>
                    <a:pt x="154" y="192"/>
                  </a:lnTo>
                  <a:lnTo>
                    <a:pt x="150" y="194"/>
                  </a:lnTo>
                  <a:close/>
                  <a:moveTo>
                    <a:pt x="56" y="196"/>
                  </a:moveTo>
                  <a:lnTo>
                    <a:pt x="24" y="200"/>
                  </a:lnTo>
                  <a:lnTo>
                    <a:pt x="22" y="198"/>
                  </a:lnTo>
                  <a:lnTo>
                    <a:pt x="22" y="186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0" y="158"/>
                  </a:lnTo>
                  <a:lnTo>
                    <a:pt x="6" y="164"/>
                  </a:lnTo>
                  <a:lnTo>
                    <a:pt x="0" y="160"/>
                  </a:lnTo>
                  <a:lnTo>
                    <a:pt x="4" y="148"/>
                  </a:lnTo>
                  <a:lnTo>
                    <a:pt x="10" y="140"/>
                  </a:lnTo>
                  <a:lnTo>
                    <a:pt x="10" y="134"/>
                  </a:lnTo>
                  <a:lnTo>
                    <a:pt x="2" y="116"/>
                  </a:lnTo>
                  <a:lnTo>
                    <a:pt x="4" y="110"/>
                  </a:lnTo>
                  <a:lnTo>
                    <a:pt x="6" y="94"/>
                  </a:lnTo>
                  <a:lnTo>
                    <a:pt x="10" y="90"/>
                  </a:lnTo>
                  <a:lnTo>
                    <a:pt x="16" y="94"/>
                  </a:lnTo>
                  <a:lnTo>
                    <a:pt x="24" y="98"/>
                  </a:lnTo>
                  <a:lnTo>
                    <a:pt x="32" y="80"/>
                  </a:lnTo>
                  <a:lnTo>
                    <a:pt x="36" y="78"/>
                  </a:lnTo>
                  <a:lnTo>
                    <a:pt x="42" y="92"/>
                  </a:lnTo>
                  <a:lnTo>
                    <a:pt x="48" y="90"/>
                  </a:lnTo>
                  <a:lnTo>
                    <a:pt x="48" y="74"/>
                  </a:lnTo>
                  <a:lnTo>
                    <a:pt x="50" y="62"/>
                  </a:lnTo>
                  <a:lnTo>
                    <a:pt x="68" y="62"/>
                  </a:lnTo>
                  <a:lnTo>
                    <a:pt x="84" y="64"/>
                  </a:lnTo>
                  <a:lnTo>
                    <a:pt x="84" y="82"/>
                  </a:lnTo>
                  <a:lnTo>
                    <a:pt x="88" y="92"/>
                  </a:lnTo>
                  <a:lnTo>
                    <a:pt x="106" y="92"/>
                  </a:lnTo>
                  <a:lnTo>
                    <a:pt x="110" y="98"/>
                  </a:lnTo>
                  <a:lnTo>
                    <a:pt x="104" y="116"/>
                  </a:lnTo>
                  <a:lnTo>
                    <a:pt x="94" y="122"/>
                  </a:lnTo>
                  <a:lnTo>
                    <a:pt x="92" y="114"/>
                  </a:lnTo>
                  <a:lnTo>
                    <a:pt x="86" y="114"/>
                  </a:lnTo>
                  <a:lnTo>
                    <a:pt x="82" y="118"/>
                  </a:lnTo>
                  <a:lnTo>
                    <a:pt x="84" y="126"/>
                  </a:lnTo>
                  <a:lnTo>
                    <a:pt x="80" y="140"/>
                  </a:lnTo>
                  <a:lnTo>
                    <a:pt x="76" y="142"/>
                  </a:lnTo>
                  <a:lnTo>
                    <a:pt x="74" y="150"/>
                  </a:lnTo>
                  <a:lnTo>
                    <a:pt x="64" y="150"/>
                  </a:lnTo>
                  <a:lnTo>
                    <a:pt x="66" y="158"/>
                  </a:lnTo>
                  <a:lnTo>
                    <a:pt x="60" y="160"/>
                  </a:lnTo>
                  <a:lnTo>
                    <a:pt x="58" y="168"/>
                  </a:lnTo>
                  <a:lnTo>
                    <a:pt x="56" y="176"/>
                  </a:lnTo>
                  <a:lnTo>
                    <a:pt x="56" y="182"/>
                  </a:lnTo>
                  <a:lnTo>
                    <a:pt x="52" y="192"/>
                  </a:lnTo>
                  <a:lnTo>
                    <a:pt x="56" y="19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id="{1C5D4BF8-0DDF-4B35-A8AE-E7159F8E39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8513" y="3570288"/>
              <a:ext cx="303212" cy="227012"/>
            </a:xfrm>
            <a:custGeom>
              <a:avLst/>
              <a:gdLst>
                <a:gd name="T0" fmla="*/ 695 w 184"/>
                <a:gd name="T1" fmla="*/ 11 h 146"/>
                <a:gd name="T2" fmla="*/ 701 w 184"/>
                <a:gd name="T3" fmla="*/ 37 h 146"/>
                <a:gd name="T4" fmla="*/ 671 w 184"/>
                <a:gd name="T5" fmla="*/ 44 h 146"/>
                <a:gd name="T6" fmla="*/ 664 w 184"/>
                <a:gd name="T7" fmla="*/ 47 h 146"/>
                <a:gd name="T8" fmla="*/ 650 w 184"/>
                <a:gd name="T9" fmla="*/ 86 h 146"/>
                <a:gd name="T10" fmla="*/ 609 w 184"/>
                <a:gd name="T11" fmla="*/ 111 h 146"/>
                <a:gd name="T12" fmla="*/ 587 w 184"/>
                <a:gd name="T13" fmla="*/ 139 h 146"/>
                <a:gd name="T14" fmla="*/ 602 w 184"/>
                <a:gd name="T15" fmla="*/ 193 h 146"/>
                <a:gd name="T16" fmla="*/ 609 w 184"/>
                <a:gd name="T17" fmla="*/ 226 h 146"/>
                <a:gd name="T18" fmla="*/ 595 w 184"/>
                <a:gd name="T19" fmla="*/ 251 h 146"/>
                <a:gd name="T20" fmla="*/ 619 w 184"/>
                <a:gd name="T21" fmla="*/ 279 h 146"/>
                <a:gd name="T22" fmla="*/ 625 w 184"/>
                <a:gd name="T23" fmla="*/ 295 h 146"/>
                <a:gd name="T24" fmla="*/ 634 w 184"/>
                <a:gd name="T25" fmla="*/ 311 h 146"/>
                <a:gd name="T26" fmla="*/ 650 w 184"/>
                <a:gd name="T27" fmla="*/ 320 h 146"/>
                <a:gd name="T28" fmla="*/ 619 w 184"/>
                <a:gd name="T29" fmla="*/ 332 h 146"/>
                <a:gd name="T30" fmla="*/ 602 w 184"/>
                <a:gd name="T31" fmla="*/ 343 h 146"/>
                <a:gd name="T32" fmla="*/ 587 w 184"/>
                <a:gd name="T33" fmla="*/ 356 h 146"/>
                <a:gd name="T34" fmla="*/ 587 w 184"/>
                <a:gd name="T35" fmla="*/ 375 h 146"/>
                <a:gd name="T36" fmla="*/ 587 w 184"/>
                <a:gd name="T37" fmla="*/ 386 h 146"/>
                <a:gd name="T38" fmla="*/ 575 w 184"/>
                <a:gd name="T39" fmla="*/ 386 h 146"/>
                <a:gd name="T40" fmla="*/ 545 w 184"/>
                <a:gd name="T41" fmla="*/ 379 h 146"/>
                <a:gd name="T42" fmla="*/ 520 w 184"/>
                <a:gd name="T43" fmla="*/ 369 h 146"/>
                <a:gd name="T44" fmla="*/ 487 w 184"/>
                <a:gd name="T45" fmla="*/ 375 h 146"/>
                <a:gd name="T46" fmla="*/ 472 w 184"/>
                <a:gd name="T47" fmla="*/ 386 h 146"/>
                <a:gd name="T48" fmla="*/ 460 w 184"/>
                <a:gd name="T49" fmla="*/ 379 h 146"/>
                <a:gd name="T50" fmla="*/ 436 w 184"/>
                <a:gd name="T51" fmla="*/ 375 h 146"/>
                <a:gd name="T52" fmla="*/ 413 w 184"/>
                <a:gd name="T53" fmla="*/ 356 h 146"/>
                <a:gd name="T54" fmla="*/ 389 w 184"/>
                <a:gd name="T55" fmla="*/ 336 h 146"/>
                <a:gd name="T56" fmla="*/ 370 w 184"/>
                <a:gd name="T57" fmla="*/ 328 h 146"/>
                <a:gd name="T58" fmla="*/ 344 w 184"/>
                <a:gd name="T59" fmla="*/ 315 h 146"/>
                <a:gd name="T60" fmla="*/ 320 w 184"/>
                <a:gd name="T61" fmla="*/ 311 h 146"/>
                <a:gd name="T62" fmla="*/ 296 w 184"/>
                <a:gd name="T63" fmla="*/ 302 h 146"/>
                <a:gd name="T64" fmla="*/ 282 w 184"/>
                <a:gd name="T65" fmla="*/ 283 h 146"/>
                <a:gd name="T66" fmla="*/ 275 w 184"/>
                <a:gd name="T67" fmla="*/ 302 h 146"/>
                <a:gd name="T68" fmla="*/ 257 w 184"/>
                <a:gd name="T69" fmla="*/ 290 h 146"/>
                <a:gd name="T70" fmla="*/ 255 w 184"/>
                <a:gd name="T71" fmla="*/ 283 h 146"/>
                <a:gd name="T72" fmla="*/ 229 w 184"/>
                <a:gd name="T73" fmla="*/ 302 h 146"/>
                <a:gd name="T74" fmla="*/ 196 w 184"/>
                <a:gd name="T75" fmla="*/ 302 h 146"/>
                <a:gd name="T76" fmla="*/ 176 w 184"/>
                <a:gd name="T77" fmla="*/ 304 h 146"/>
                <a:gd name="T78" fmla="*/ 150 w 184"/>
                <a:gd name="T79" fmla="*/ 320 h 146"/>
                <a:gd name="T80" fmla="*/ 150 w 184"/>
                <a:gd name="T81" fmla="*/ 304 h 146"/>
                <a:gd name="T82" fmla="*/ 169 w 184"/>
                <a:gd name="T83" fmla="*/ 251 h 146"/>
                <a:gd name="T84" fmla="*/ 96 w 184"/>
                <a:gd name="T85" fmla="*/ 272 h 146"/>
                <a:gd name="T86" fmla="*/ 46 w 184"/>
                <a:gd name="T87" fmla="*/ 246 h 146"/>
                <a:gd name="T88" fmla="*/ 21 w 184"/>
                <a:gd name="T89" fmla="*/ 181 h 146"/>
                <a:gd name="T90" fmla="*/ 9 w 184"/>
                <a:gd name="T91" fmla="*/ 130 h 146"/>
                <a:gd name="T92" fmla="*/ 14 w 184"/>
                <a:gd name="T93" fmla="*/ 94 h 146"/>
                <a:gd name="T94" fmla="*/ 31 w 184"/>
                <a:gd name="T95" fmla="*/ 72 h 146"/>
                <a:gd name="T96" fmla="*/ 96 w 184"/>
                <a:gd name="T97" fmla="*/ 54 h 146"/>
                <a:gd name="T98" fmla="*/ 146 w 184"/>
                <a:gd name="T99" fmla="*/ 26 h 146"/>
                <a:gd name="T100" fmla="*/ 176 w 184"/>
                <a:gd name="T101" fmla="*/ 21 h 146"/>
                <a:gd name="T102" fmla="*/ 205 w 184"/>
                <a:gd name="T103" fmla="*/ 11 h 146"/>
                <a:gd name="T104" fmla="*/ 305 w 184"/>
                <a:gd name="T105" fmla="*/ 0 h 146"/>
                <a:gd name="T106" fmla="*/ 344 w 184"/>
                <a:gd name="T107" fmla="*/ 2 h 146"/>
                <a:gd name="T108" fmla="*/ 512 w 184"/>
                <a:gd name="T109" fmla="*/ 21 h 146"/>
                <a:gd name="T110" fmla="*/ 575 w 184"/>
                <a:gd name="T111" fmla="*/ 31 h 146"/>
                <a:gd name="T112" fmla="*/ 664 w 184"/>
                <a:gd name="T113" fmla="*/ 26 h 146"/>
                <a:gd name="T114" fmla="*/ 681 w 184"/>
                <a:gd name="T115" fmla="*/ 2 h 14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84"/>
                <a:gd name="T175" fmla="*/ 0 h 146"/>
                <a:gd name="T176" fmla="*/ 184 w 184"/>
                <a:gd name="T177" fmla="*/ 146 h 14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84" h="146">
                  <a:moveTo>
                    <a:pt x="178" y="2"/>
                  </a:moveTo>
                  <a:lnTo>
                    <a:pt x="182" y="4"/>
                  </a:lnTo>
                  <a:lnTo>
                    <a:pt x="184" y="8"/>
                  </a:lnTo>
                  <a:lnTo>
                    <a:pt x="184" y="14"/>
                  </a:lnTo>
                  <a:lnTo>
                    <a:pt x="180" y="16"/>
                  </a:lnTo>
                  <a:lnTo>
                    <a:pt x="176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2" y="22"/>
                  </a:lnTo>
                  <a:lnTo>
                    <a:pt x="170" y="32"/>
                  </a:lnTo>
                  <a:lnTo>
                    <a:pt x="166" y="38"/>
                  </a:lnTo>
                  <a:lnTo>
                    <a:pt x="160" y="42"/>
                  </a:lnTo>
                  <a:lnTo>
                    <a:pt x="156" y="46"/>
                  </a:lnTo>
                  <a:lnTo>
                    <a:pt x="154" y="52"/>
                  </a:lnTo>
                  <a:lnTo>
                    <a:pt x="156" y="58"/>
                  </a:lnTo>
                  <a:lnTo>
                    <a:pt x="158" y="72"/>
                  </a:lnTo>
                  <a:lnTo>
                    <a:pt x="160" y="78"/>
                  </a:lnTo>
                  <a:lnTo>
                    <a:pt x="160" y="84"/>
                  </a:lnTo>
                  <a:lnTo>
                    <a:pt x="156" y="88"/>
                  </a:lnTo>
                  <a:lnTo>
                    <a:pt x="156" y="94"/>
                  </a:lnTo>
                  <a:lnTo>
                    <a:pt x="160" y="102"/>
                  </a:lnTo>
                  <a:lnTo>
                    <a:pt x="162" y="104"/>
                  </a:lnTo>
                  <a:lnTo>
                    <a:pt x="164" y="106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6" y="116"/>
                  </a:lnTo>
                  <a:lnTo>
                    <a:pt x="168" y="118"/>
                  </a:lnTo>
                  <a:lnTo>
                    <a:pt x="170" y="120"/>
                  </a:lnTo>
                  <a:lnTo>
                    <a:pt x="166" y="122"/>
                  </a:lnTo>
                  <a:lnTo>
                    <a:pt x="162" y="124"/>
                  </a:lnTo>
                  <a:lnTo>
                    <a:pt x="160" y="126"/>
                  </a:lnTo>
                  <a:lnTo>
                    <a:pt x="158" y="128"/>
                  </a:lnTo>
                  <a:lnTo>
                    <a:pt x="156" y="132"/>
                  </a:lnTo>
                  <a:lnTo>
                    <a:pt x="154" y="132"/>
                  </a:lnTo>
                  <a:lnTo>
                    <a:pt x="154" y="136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54" y="144"/>
                  </a:lnTo>
                  <a:lnTo>
                    <a:pt x="150" y="146"/>
                  </a:lnTo>
                  <a:lnTo>
                    <a:pt x="150" y="144"/>
                  </a:lnTo>
                  <a:lnTo>
                    <a:pt x="144" y="144"/>
                  </a:lnTo>
                  <a:lnTo>
                    <a:pt x="142" y="142"/>
                  </a:lnTo>
                  <a:lnTo>
                    <a:pt x="138" y="140"/>
                  </a:lnTo>
                  <a:lnTo>
                    <a:pt x="136" y="138"/>
                  </a:lnTo>
                  <a:lnTo>
                    <a:pt x="132" y="140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4"/>
                  </a:lnTo>
                  <a:lnTo>
                    <a:pt x="122" y="144"/>
                  </a:lnTo>
                  <a:lnTo>
                    <a:pt x="120" y="142"/>
                  </a:lnTo>
                  <a:lnTo>
                    <a:pt x="116" y="140"/>
                  </a:lnTo>
                  <a:lnTo>
                    <a:pt x="114" y="140"/>
                  </a:lnTo>
                  <a:lnTo>
                    <a:pt x="110" y="138"/>
                  </a:lnTo>
                  <a:lnTo>
                    <a:pt x="108" y="132"/>
                  </a:lnTo>
                  <a:lnTo>
                    <a:pt x="104" y="128"/>
                  </a:lnTo>
                  <a:lnTo>
                    <a:pt x="102" y="126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4" y="122"/>
                  </a:lnTo>
                  <a:lnTo>
                    <a:pt x="90" y="118"/>
                  </a:lnTo>
                  <a:lnTo>
                    <a:pt x="84" y="116"/>
                  </a:lnTo>
                  <a:lnTo>
                    <a:pt x="84" y="114"/>
                  </a:lnTo>
                  <a:lnTo>
                    <a:pt x="78" y="112"/>
                  </a:lnTo>
                  <a:lnTo>
                    <a:pt x="76" y="110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2" y="112"/>
                  </a:lnTo>
                  <a:lnTo>
                    <a:pt x="70" y="110"/>
                  </a:lnTo>
                  <a:lnTo>
                    <a:pt x="68" y="108"/>
                  </a:lnTo>
                  <a:lnTo>
                    <a:pt x="68" y="106"/>
                  </a:lnTo>
                  <a:lnTo>
                    <a:pt x="66" y="106"/>
                  </a:lnTo>
                  <a:lnTo>
                    <a:pt x="62" y="110"/>
                  </a:lnTo>
                  <a:lnTo>
                    <a:pt x="60" y="112"/>
                  </a:lnTo>
                  <a:lnTo>
                    <a:pt x="56" y="112"/>
                  </a:lnTo>
                  <a:lnTo>
                    <a:pt x="52" y="112"/>
                  </a:lnTo>
                  <a:lnTo>
                    <a:pt x="50" y="114"/>
                  </a:lnTo>
                  <a:lnTo>
                    <a:pt x="46" y="114"/>
                  </a:lnTo>
                  <a:lnTo>
                    <a:pt x="42" y="116"/>
                  </a:lnTo>
                  <a:lnTo>
                    <a:pt x="40" y="120"/>
                  </a:lnTo>
                  <a:lnTo>
                    <a:pt x="38" y="120"/>
                  </a:lnTo>
                  <a:lnTo>
                    <a:pt x="40" y="114"/>
                  </a:lnTo>
                  <a:lnTo>
                    <a:pt x="40" y="102"/>
                  </a:lnTo>
                  <a:lnTo>
                    <a:pt x="44" y="94"/>
                  </a:lnTo>
                  <a:lnTo>
                    <a:pt x="38" y="88"/>
                  </a:lnTo>
                  <a:lnTo>
                    <a:pt x="26" y="102"/>
                  </a:lnTo>
                  <a:lnTo>
                    <a:pt x="20" y="94"/>
                  </a:lnTo>
                  <a:lnTo>
                    <a:pt x="12" y="92"/>
                  </a:lnTo>
                  <a:lnTo>
                    <a:pt x="12" y="62"/>
                  </a:lnTo>
                  <a:lnTo>
                    <a:pt x="6" y="68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2" y="28"/>
                  </a:lnTo>
                  <a:lnTo>
                    <a:pt x="8" y="26"/>
                  </a:lnTo>
                  <a:lnTo>
                    <a:pt x="26" y="24"/>
                  </a:lnTo>
                  <a:lnTo>
                    <a:pt x="26" y="20"/>
                  </a:lnTo>
                  <a:lnTo>
                    <a:pt x="36" y="16"/>
                  </a:lnTo>
                  <a:lnTo>
                    <a:pt x="38" y="10"/>
                  </a:lnTo>
                  <a:lnTo>
                    <a:pt x="46" y="12"/>
                  </a:lnTo>
                  <a:lnTo>
                    <a:pt x="46" y="8"/>
                  </a:lnTo>
                  <a:lnTo>
                    <a:pt x="52" y="10"/>
                  </a:lnTo>
                  <a:lnTo>
                    <a:pt x="54" y="4"/>
                  </a:lnTo>
                  <a:lnTo>
                    <a:pt x="72" y="10"/>
                  </a:lnTo>
                  <a:lnTo>
                    <a:pt x="80" y="0"/>
                  </a:lnTo>
                  <a:lnTo>
                    <a:pt x="82" y="6"/>
                  </a:lnTo>
                  <a:lnTo>
                    <a:pt x="90" y="2"/>
                  </a:lnTo>
                  <a:lnTo>
                    <a:pt x="114" y="4"/>
                  </a:lnTo>
                  <a:lnTo>
                    <a:pt x="134" y="8"/>
                  </a:lnTo>
                  <a:lnTo>
                    <a:pt x="140" y="14"/>
                  </a:lnTo>
                  <a:lnTo>
                    <a:pt x="150" y="12"/>
                  </a:lnTo>
                  <a:lnTo>
                    <a:pt x="166" y="14"/>
                  </a:lnTo>
                  <a:lnTo>
                    <a:pt x="174" y="10"/>
                  </a:lnTo>
                  <a:lnTo>
                    <a:pt x="178" y="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AE05A01C-5AFC-493C-803A-6380F44D5A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1350" y="3736975"/>
              <a:ext cx="463550" cy="258762"/>
            </a:xfrm>
            <a:custGeom>
              <a:avLst/>
              <a:gdLst>
                <a:gd name="T0" fmla="*/ 967 w 280"/>
                <a:gd name="T1" fmla="*/ 103 h 168"/>
                <a:gd name="T2" fmla="*/ 990 w 280"/>
                <a:gd name="T3" fmla="*/ 127 h 168"/>
                <a:gd name="T4" fmla="*/ 1015 w 280"/>
                <a:gd name="T5" fmla="*/ 143 h 168"/>
                <a:gd name="T6" fmla="*/ 1006 w 280"/>
                <a:gd name="T7" fmla="*/ 161 h 168"/>
                <a:gd name="T8" fmla="*/ 1000 w 280"/>
                <a:gd name="T9" fmla="*/ 171 h 168"/>
                <a:gd name="T10" fmla="*/ 990 w 280"/>
                <a:gd name="T11" fmla="*/ 201 h 168"/>
                <a:gd name="T12" fmla="*/ 1000 w 280"/>
                <a:gd name="T13" fmla="*/ 211 h 168"/>
                <a:gd name="T14" fmla="*/ 1024 w 280"/>
                <a:gd name="T15" fmla="*/ 215 h 168"/>
                <a:gd name="T16" fmla="*/ 1015 w 280"/>
                <a:gd name="T17" fmla="*/ 230 h 168"/>
                <a:gd name="T18" fmla="*/ 1037 w 280"/>
                <a:gd name="T19" fmla="*/ 254 h 168"/>
                <a:gd name="T20" fmla="*/ 1052 w 280"/>
                <a:gd name="T21" fmla="*/ 274 h 168"/>
                <a:gd name="T22" fmla="*/ 1067 w 280"/>
                <a:gd name="T23" fmla="*/ 313 h 168"/>
                <a:gd name="T24" fmla="*/ 1062 w 280"/>
                <a:gd name="T25" fmla="*/ 332 h 168"/>
                <a:gd name="T26" fmla="*/ 1015 w 280"/>
                <a:gd name="T27" fmla="*/ 349 h 168"/>
                <a:gd name="T28" fmla="*/ 986 w 280"/>
                <a:gd name="T29" fmla="*/ 367 h 168"/>
                <a:gd name="T30" fmla="*/ 961 w 280"/>
                <a:gd name="T31" fmla="*/ 396 h 168"/>
                <a:gd name="T32" fmla="*/ 906 w 280"/>
                <a:gd name="T33" fmla="*/ 385 h 168"/>
                <a:gd name="T34" fmla="*/ 869 w 280"/>
                <a:gd name="T35" fmla="*/ 402 h 168"/>
                <a:gd name="T36" fmla="*/ 839 w 280"/>
                <a:gd name="T37" fmla="*/ 407 h 168"/>
                <a:gd name="T38" fmla="*/ 782 w 280"/>
                <a:gd name="T39" fmla="*/ 402 h 168"/>
                <a:gd name="T40" fmla="*/ 745 w 280"/>
                <a:gd name="T41" fmla="*/ 367 h 168"/>
                <a:gd name="T42" fmla="*/ 671 w 280"/>
                <a:gd name="T43" fmla="*/ 332 h 168"/>
                <a:gd name="T44" fmla="*/ 586 w 280"/>
                <a:gd name="T45" fmla="*/ 305 h 168"/>
                <a:gd name="T46" fmla="*/ 555 w 280"/>
                <a:gd name="T47" fmla="*/ 292 h 168"/>
                <a:gd name="T48" fmla="*/ 499 w 280"/>
                <a:gd name="T49" fmla="*/ 305 h 168"/>
                <a:gd name="T50" fmla="*/ 440 w 280"/>
                <a:gd name="T51" fmla="*/ 301 h 168"/>
                <a:gd name="T52" fmla="*/ 355 w 280"/>
                <a:gd name="T53" fmla="*/ 301 h 168"/>
                <a:gd name="T54" fmla="*/ 311 w 280"/>
                <a:gd name="T55" fmla="*/ 303 h 168"/>
                <a:gd name="T56" fmla="*/ 281 w 280"/>
                <a:gd name="T57" fmla="*/ 290 h 168"/>
                <a:gd name="T58" fmla="*/ 205 w 280"/>
                <a:gd name="T59" fmla="*/ 290 h 168"/>
                <a:gd name="T60" fmla="*/ 89 w 280"/>
                <a:gd name="T61" fmla="*/ 305 h 168"/>
                <a:gd name="T62" fmla="*/ 37 w 280"/>
                <a:gd name="T63" fmla="*/ 342 h 168"/>
                <a:gd name="T64" fmla="*/ 9 w 280"/>
                <a:gd name="T65" fmla="*/ 274 h 168"/>
                <a:gd name="T66" fmla="*/ 61 w 280"/>
                <a:gd name="T67" fmla="*/ 211 h 168"/>
                <a:gd name="T68" fmla="*/ 96 w 280"/>
                <a:gd name="T69" fmla="*/ 123 h 168"/>
                <a:gd name="T70" fmla="*/ 196 w 280"/>
                <a:gd name="T71" fmla="*/ 89 h 168"/>
                <a:gd name="T72" fmla="*/ 244 w 280"/>
                <a:gd name="T73" fmla="*/ 78 h 168"/>
                <a:gd name="T74" fmla="*/ 320 w 280"/>
                <a:gd name="T75" fmla="*/ 143 h 168"/>
                <a:gd name="T76" fmla="*/ 365 w 280"/>
                <a:gd name="T77" fmla="*/ 207 h 168"/>
                <a:gd name="T78" fmla="*/ 487 w 280"/>
                <a:gd name="T79" fmla="*/ 182 h 168"/>
                <a:gd name="T80" fmla="*/ 487 w 280"/>
                <a:gd name="T81" fmla="*/ 58 h 168"/>
                <a:gd name="T82" fmla="*/ 512 w 280"/>
                <a:gd name="T83" fmla="*/ 35 h 168"/>
                <a:gd name="T84" fmla="*/ 549 w 280"/>
                <a:gd name="T85" fmla="*/ 19 h 168"/>
                <a:gd name="T86" fmla="*/ 586 w 280"/>
                <a:gd name="T87" fmla="*/ 14 h 168"/>
                <a:gd name="T88" fmla="*/ 615 w 280"/>
                <a:gd name="T89" fmla="*/ 0 h 168"/>
                <a:gd name="T90" fmla="*/ 632 w 280"/>
                <a:gd name="T91" fmla="*/ 14 h 168"/>
                <a:gd name="T92" fmla="*/ 646 w 280"/>
                <a:gd name="T93" fmla="*/ 10 h 168"/>
                <a:gd name="T94" fmla="*/ 675 w 280"/>
                <a:gd name="T95" fmla="*/ 26 h 168"/>
                <a:gd name="T96" fmla="*/ 717 w 280"/>
                <a:gd name="T97" fmla="*/ 41 h 168"/>
                <a:gd name="T98" fmla="*/ 745 w 280"/>
                <a:gd name="T99" fmla="*/ 49 h 168"/>
                <a:gd name="T100" fmla="*/ 780 w 280"/>
                <a:gd name="T101" fmla="*/ 78 h 168"/>
                <a:gd name="T102" fmla="*/ 814 w 280"/>
                <a:gd name="T103" fmla="*/ 89 h 168"/>
                <a:gd name="T104" fmla="*/ 839 w 280"/>
                <a:gd name="T105" fmla="*/ 89 h 168"/>
                <a:gd name="T106" fmla="*/ 876 w 280"/>
                <a:gd name="T107" fmla="*/ 78 h 168"/>
                <a:gd name="T108" fmla="*/ 906 w 280"/>
                <a:gd name="T109" fmla="*/ 92 h 168"/>
                <a:gd name="T110" fmla="*/ 945 w 280"/>
                <a:gd name="T111" fmla="*/ 92 h 1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0"/>
                <a:gd name="T169" fmla="*/ 0 h 168"/>
                <a:gd name="T170" fmla="*/ 280 w 280"/>
                <a:gd name="T171" fmla="*/ 168 h 1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0" h="168">
                  <a:moveTo>
                    <a:pt x="248" y="38"/>
                  </a:moveTo>
                  <a:lnTo>
                    <a:pt x="254" y="38"/>
                  </a:lnTo>
                  <a:lnTo>
                    <a:pt x="254" y="42"/>
                  </a:lnTo>
                  <a:lnTo>
                    <a:pt x="254" y="46"/>
                  </a:lnTo>
                  <a:lnTo>
                    <a:pt x="258" y="48"/>
                  </a:lnTo>
                  <a:lnTo>
                    <a:pt x="260" y="52"/>
                  </a:lnTo>
                  <a:lnTo>
                    <a:pt x="262" y="54"/>
                  </a:lnTo>
                  <a:lnTo>
                    <a:pt x="266" y="54"/>
                  </a:lnTo>
                  <a:lnTo>
                    <a:pt x="266" y="58"/>
                  </a:lnTo>
                  <a:lnTo>
                    <a:pt x="266" y="62"/>
                  </a:lnTo>
                  <a:lnTo>
                    <a:pt x="264" y="64"/>
                  </a:lnTo>
                  <a:lnTo>
                    <a:pt x="264" y="66"/>
                  </a:lnTo>
                  <a:lnTo>
                    <a:pt x="262" y="66"/>
                  </a:lnTo>
                  <a:lnTo>
                    <a:pt x="260" y="68"/>
                  </a:lnTo>
                  <a:lnTo>
                    <a:pt x="262" y="70"/>
                  </a:lnTo>
                  <a:lnTo>
                    <a:pt x="260" y="76"/>
                  </a:lnTo>
                  <a:lnTo>
                    <a:pt x="262" y="78"/>
                  </a:lnTo>
                  <a:lnTo>
                    <a:pt x="260" y="82"/>
                  </a:lnTo>
                  <a:lnTo>
                    <a:pt x="258" y="84"/>
                  </a:lnTo>
                  <a:lnTo>
                    <a:pt x="258" y="88"/>
                  </a:lnTo>
                  <a:lnTo>
                    <a:pt x="262" y="86"/>
                  </a:lnTo>
                  <a:lnTo>
                    <a:pt x="264" y="84"/>
                  </a:lnTo>
                  <a:lnTo>
                    <a:pt x="266" y="88"/>
                  </a:lnTo>
                  <a:lnTo>
                    <a:pt x="268" y="88"/>
                  </a:lnTo>
                  <a:lnTo>
                    <a:pt x="268" y="90"/>
                  </a:lnTo>
                  <a:lnTo>
                    <a:pt x="268" y="92"/>
                  </a:lnTo>
                  <a:lnTo>
                    <a:pt x="266" y="94"/>
                  </a:lnTo>
                  <a:lnTo>
                    <a:pt x="268" y="98"/>
                  </a:lnTo>
                  <a:lnTo>
                    <a:pt x="270" y="100"/>
                  </a:lnTo>
                  <a:lnTo>
                    <a:pt x="272" y="104"/>
                  </a:lnTo>
                  <a:lnTo>
                    <a:pt x="274" y="108"/>
                  </a:lnTo>
                  <a:lnTo>
                    <a:pt x="278" y="108"/>
                  </a:lnTo>
                  <a:lnTo>
                    <a:pt x="276" y="112"/>
                  </a:lnTo>
                  <a:lnTo>
                    <a:pt x="278" y="114"/>
                  </a:lnTo>
                  <a:lnTo>
                    <a:pt x="278" y="120"/>
                  </a:lnTo>
                  <a:lnTo>
                    <a:pt x="280" y="128"/>
                  </a:lnTo>
                  <a:lnTo>
                    <a:pt x="278" y="130"/>
                  </a:lnTo>
                  <a:lnTo>
                    <a:pt x="278" y="134"/>
                  </a:lnTo>
                  <a:lnTo>
                    <a:pt x="278" y="136"/>
                  </a:lnTo>
                  <a:lnTo>
                    <a:pt x="274" y="138"/>
                  </a:lnTo>
                  <a:lnTo>
                    <a:pt x="268" y="138"/>
                  </a:lnTo>
                  <a:lnTo>
                    <a:pt x="266" y="142"/>
                  </a:lnTo>
                  <a:lnTo>
                    <a:pt x="264" y="144"/>
                  </a:lnTo>
                  <a:lnTo>
                    <a:pt x="260" y="148"/>
                  </a:lnTo>
                  <a:lnTo>
                    <a:pt x="258" y="150"/>
                  </a:lnTo>
                  <a:lnTo>
                    <a:pt x="258" y="154"/>
                  </a:lnTo>
                  <a:lnTo>
                    <a:pt x="256" y="160"/>
                  </a:lnTo>
                  <a:lnTo>
                    <a:pt x="252" y="162"/>
                  </a:lnTo>
                  <a:lnTo>
                    <a:pt x="248" y="160"/>
                  </a:lnTo>
                  <a:lnTo>
                    <a:pt x="244" y="160"/>
                  </a:lnTo>
                  <a:lnTo>
                    <a:pt x="238" y="158"/>
                  </a:lnTo>
                  <a:lnTo>
                    <a:pt x="232" y="158"/>
                  </a:lnTo>
                  <a:lnTo>
                    <a:pt x="230" y="160"/>
                  </a:lnTo>
                  <a:lnTo>
                    <a:pt x="228" y="164"/>
                  </a:lnTo>
                  <a:lnTo>
                    <a:pt x="224" y="168"/>
                  </a:lnTo>
                  <a:lnTo>
                    <a:pt x="222" y="168"/>
                  </a:lnTo>
                  <a:lnTo>
                    <a:pt x="220" y="166"/>
                  </a:lnTo>
                  <a:lnTo>
                    <a:pt x="218" y="168"/>
                  </a:lnTo>
                  <a:lnTo>
                    <a:pt x="212" y="168"/>
                  </a:lnTo>
                  <a:lnTo>
                    <a:pt x="206" y="164"/>
                  </a:lnTo>
                  <a:lnTo>
                    <a:pt x="204" y="160"/>
                  </a:lnTo>
                  <a:lnTo>
                    <a:pt x="202" y="156"/>
                  </a:lnTo>
                  <a:lnTo>
                    <a:pt x="196" y="150"/>
                  </a:lnTo>
                  <a:lnTo>
                    <a:pt x="188" y="144"/>
                  </a:lnTo>
                  <a:lnTo>
                    <a:pt x="182" y="136"/>
                  </a:lnTo>
                  <a:lnTo>
                    <a:pt x="176" y="136"/>
                  </a:lnTo>
                  <a:lnTo>
                    <a:pt x="166" y="134"/>
                  </a:lnTo>
                  <a:lnTo>
                    <a:pt x="160" y="130"/>
                  </a:lnTo>
                  <a:lnTo>
                    <a:pt x="154" y="126"/>
                  </a:lnTo>
                  <a:lnTo>
                    <a:pt x="154" y="116"/>
                  </a:lnTo>
                  <a:lnTo>
                    <a:pt x="150" y="118"/>
                  </a:lnTo>
                  <a:lnTo>
                    <a:pt x="146" y="120"/>
                  </a:lnTo>
                  <a:lnTo>
                    <a:pt x="140" y="126"/>
                  </a:lnTo>
                  <a:lnTo>
                    <a:pt x="134" y="126"/>
                  </a:lnTo>
                  <a:lnTo>
                    <a:pt x="130" y="126"/>
                  </a:lnTo>
                  <a:lnTo>
                    <a:pt x="124" y="128"/>
                  </a:lnTo>
                  <a:lnTo>
                    <a:pt x="120" y="126"/>
                  </a:lnTo>
                  <a:lnTo>
                    <a:pt x="116" y="122"/>
                  </a:lnTo>
                  <a:lnTo>
                    <a:pt x="106" y="122"/>
                  </a:lnTo>
                  <a:lnTo>
                    <a:pt x="100" y="124"/>
                  </a:lnTo>
                  <a:lnTo>
                    <a:pt x="94" y="122"/>
                  </a:lnTo>
                  <a:lnTo>
                    <a:pt x="88" y="120"/>
                  </a:lnTo>
                  <a:lnTo>
                    <a:pt x="86" y="122"/>
                  </a:lnTo>
                  <a:lnTo>
                    <a:pt x="82" y="124"/>
                  </a:lnTo>
                  <a:lnTo>
                    <a:pt x="80" y="122"/>
                  </a:lnTo>
                  <a:lnTo>
                    <a:pt x="78" y="118"/>
                  </a:lnTo>
                  <a:lnTo>
                    <a:pt x="74" y="118"/>
                  </a:lnTo>
                  <a:lnTo>
                    <a:pt x="70" y="120"/>
                  </a:lnTo>
                  <a:lnTo>
                    <a:pt x="68" y="120"/>
                  </a:lnTo>
                  <a:lnTo>
                    <a:pt x="54" y="118"/>
                  </a:lnTo>
                  <a:lnTo>
                    <a:pt x="46" y="116"/>
                  </a:lnTo>
                  <a:lnTo>
                    <a:pt x="34" y="122"/>
                  </a:lnTo>
                  <a:lnTo>
                    <a:pt x="24" y="126"/>
                  </a:lnTo>
                  <a:lnTo>
                    <a:pt x="16" y="130"/>
                  </a:lnTo>
                  <a:lnTo>
                    <a:pt x="12" y="134"/>
                  </a:lnTo>
                  <a:lnTo>
                    <a:pt x="10" y="140"/>
                  </a:lnTo>
                  <a:lnTo>
                    <a:pt x="2" y="140"/>
                  </a:lnTo>
                  <a:lnTo>
                    <a:pt x="0" y="138"/>
                  </a:lnTo>
                  <a:lnTo>
                    <a:pt x="2" y="112"/>
                  </a:lnTo>
                  <a:lnTo>
                    <a:pt x="2" y="104"/>
                  </a:lnTo>
                  <a:lnTo>
                    <a:pt x="4" y="98"/>
                  </a:lnTo>
                  <a:lnTo>
                    <a:pt x="16" y="86"/>
                  </a:lnTo>
                  <a:lnTo>
                    <a:pt x="16" y="64"/>
                  </a:lnTo>
                  <a:lnTo>
                    <a:pt x="22" y="58"/>
                  </a:lnTo>
                  <a:lnTo>
                    <a:pt x="26" y="50"/>
                  </a:lnTo>
                  <a:lnTo>
                    <a:pt x="30" y="42"/>
                  </a:lnTo>
                  <a:lnTo>
                    <a:pt x="34" y="42"/>
                  </a:lnTo>
                  <a:lnTo>
                    <a:pt x="52" y="36"/>
                  </a:lnTo>
                  <a:lnTo>
                    <a:pt x="56" y="34"/>
                  </a:lnTo>
                  <a:lnTo>
                    <a:pt x="58" y="32"/>
                  </a:lnTo>
                  <a:lnTo>
                    <a:pt x="64" y="32"/>
                  </a:lnTo>
                  <a:lnTo>
                    <a:pt x="64" y="40"/>
                  </a:lnTo>
                  <a:lnTo>
                    <a:pt x="76" y="52"/>
                  </a:lnTo>
                  <a:lnTo>
                    <a:pt x="84" y="58"/>
                  </a:lnTo>
                  <a:lnTo>
                    <a:pt x="86" y="72"/>
                  </a:lnTo>
                  <a:lnTo>
                    <a:pt x="88" y="78"/>
                  </a:lnTo>
                  <a:lnTo>
                    <a:pt x="96" y="84"/>
                  </a:lnTo>
                  <a:lnTo>
                    <a:pt x="110" y="86"/>
                  </a:lnTo>
                  <a:lnTo>
                    <a:pt x="124" y="78"/>
                  </a:lnTo>
                  <a:lnTo>
                    <a:pt x="128" y="74"/>
                  </a:lnTo>
                  <a:lnTo>
                    <a:pt x="132" y="64"/>
                  </a:lnTo>
                  <a:lnTo>
                    <a:pt x="132" y="52"/>
                  </a:lnTo>
                  <a:lnTo>
                    <a:pt x="128" y="24"/>
                  </a:lnTo>
                  <a:lnTo>
                    <a:pt x="132" y="16"/>
                  </a:lnTo>
                  <a:lnTo>
                    <a:pt x="132" y="14"/>
                  </a:lnTo>
                  <a:lnTo>
                    <a:pt x="134" y="14"/>
                  </a:lnTo>
                  <a:lnTo>
                    <a:pt x="136" y="10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6" y="6"/>
                  </a:lnTo>
                  <a:lnTo>
                    <a:pt x="150" y="6"/>
                  </a:lnTo>
                  <a:lnTo>
                    <a:pt x="154" y="6"/>
                  </a:lnTo>
                  <a:lnTo>
                    <a:pt x="156" y="4"/>
                  </a:lnTo>
                  <a:lnTo>
                    <a:pt x="160" y="0"/>
                  </a:lnTo>
                  <a:lnTo>
                    <a:pt x="162" y="0"/>
                  </a:lnTo>
                  <a:lnTo>
                    <a:pt x="162" y="2"/>
                  </a:lnTo>
                  <a:lnTo>
                    <a:pt x="164" y="4"/>
                  </a:lnTo>
                  <a:lnTo>
                    <a:pt x="166" y="6"/>
                  </a:lnTo>
                  <a:lnTo>
                    <a:pt x="168" y="2"/>
                  </a:lnTo>
                  <a:lnTo>
                    <a:pt x="168" y="0"/>
                  </a:lnTo>
                  <a:lnTo>
                    <a:pt x="170" y="4"/>
                  </a:lnTo>
                  <a:lnTo>
                    <a:pt x="172" y="6"/>
                  </a:lnTo>
                  <a:lnTo>
                    <a:pt x="178" y="8"/>
                  </a:lnTo>
                  <a:lnTo>
                    <a:pt x="178" y="10"/>
                  </a:lnTo>
                  <a:lnTo>
                    <a:pt x="184" y="12"/>
                  </a:lnTo>
                  <a:lnTo>
                    <a:pt x="188" y="16"/>
                  </a:lnTo>
                  <a:lnTo>
                    <a:pt x="192" y="16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198" y="22"/>
                  </a:lnTo>
                  <a:lnTo>
                    <a:pt x="202" y="26"/>
                  </a:lnTo>
                  <a:lnTo>
                    <a:pt x="204" y="32"/>
                  </a:lnTo>
                  <a:lnTo>
                    <a:pt x="208" y="34"/>
                  </a:lnTo>
                  <a:lnTo>
                    <a:pt x="210" y="34"/>
                  </a:lnTo>
                  <a:lnTo>
                    <a:pt x="214" y="36"/>
                  </a:lnTo>
                  <a:lnTo>
                    <a:pt x="216" y="38"/>
                  </a:lnTo>
                  <a:lnTo>
                    <a:pt x="218" y="38"/>
                  </a:lnTo>
                  <a:lnTo>
                    <a:pt x="220" y="36"/>
                  </a:lnTo>
                  <a:lnTo>
                    <a:pt x="222" y="34"/>
                  </a:lnTo>
                  <a:lnTo>
                    <a:pt x="226" y="34"/>
                  </a:lnTo>
                  <a:lnTo>
                    <a:pt x="230" y="32"/>
                  </a:lnTo>
                  <a:lnTo>
                    <a:pt x="232" y="34"/>
                  </a:lnTo>
                  <a:lnTo>
                    <a:pt x="236" y="36"/>
                  </a:lnTo>
                  <a:lnTo>
                    <a:pt x="238" y="38"/>
                  </a:lnTo>
                  <a:lnTo>
                    <a:pt x="244" y="38"/>
                  </a:lnTo>
                  <a:lnTo>
                    <a:pt x="244" y="40"/>
                  </a:lnTo>
                  <a:lnTo>
                    <a:pt x="248" y="3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id="{D07A5E61-F10E-420C-ACDA-78A46CEDB964}"/>
                </a:ext>
              </a:extLst>
            </p:cNvPr>
            <p:cNvSpPr>
              <a:spLocks/>
            </p:cNvSpPr>
            <p:nvPr/>
          </p:nvSpPr>
          <p:spPr bwMode="gray">
            <a:xfrm>
              <a:off x="4613275" y="4227513"/>
              <a:ext cx="236537" cy="261937"/>
            </a:xfrm>
            <a:custGeom>
              <a:avLst/>
              <a:gdLst>
                <a:gd name="T0" fmla="*/ 552 w 142"/>
                <a:gd name="T1" fmla="*/ 75 h 168"/>
                <a:gd name="T2" fmla="*/ 526 w 142"/>
                <a:gd name="T3" fmla="*/ 136 h 168"/>
                <a:gd name="T4" fmla="*/ 479 w 142"/>
                <a:gd name="T5" fmla="*/ 145 h 168"/>
                <a:gd name="T6" fmla="*/ 504 w 142"/>
                <a:gd name="T7" fmla="*/ 165 h 168"/>
                <a:gd name="T8" fmla="*/ 526 w 142"/>
                <a:gd name="T9" fmla="*/ 177 h 168"/>
                <a:gd name="T10" fmla="*/ 504 w 142"/>
                <a:gd name="T11" fmla="*/ 219 h 168"/>
                <a:gd name="T12" fmla="*/ 475 w 142"/>
                <a:gd name="T13" fmla="*/ 257 h 168"/>
                <a:gd name="T14" fmla="*/ 402 w 142"/>
                <a:gd name="T15" fmla="*/ 257 h 168"/>
                <a:gd name="T16" fmla="*/ 366 w 142"/>
                <a:gd name="T17" fmla="*/ 272 h 168"/>
                <a:gd name="T18" fmla="*/ 389 w 142"/>
                <a:gd name="T19" fmla="*/ 302 h 168"/>
                <a:gd name="T20" fmla="*/ 402 w 142"/>
                <a:gd name="T21" fmla="*/ 336 h 168"/>
                <a:gd name="T22" fmla="*/ 380 w 142"/>
                <a:gd name="T23" fmla="*/ 370 h 168"/>
                <a:gd name="T24" fmla="*/ 380 w 142"/>
                <a:gd name="T25" fmla="*/ 391 h 168"/>
                <a:gd name="T26" fmla="*/ 357 w 142"/>
                <a:gd name="T27" fmla="*/ 407 h 168"/>
                <a:gd name="T28" fmla="*/ 380 w 142"/>
                <a:gd name="T29" fmla="*/ 422 h 168"/>
                <a:gd name="T30" fmla="*/ 325 w 142"/>
                <a:gd name="T31" fmla="*/ 450 h 168"/>
                <a:gd name="T32" fmla="*/ 333 w 142"/>
                <a:gd name="T33" fmla="*/ 420 h 168"/>
                <a:gd name="T34" fmla="*/ 293 w 142"/>
                <a:gd name="T35" fmla="*/ 358 h 168"/>
                <a:gd name="T36" fmla="*/ 242 w 142"/>
                <a:gd name="T37" fmla="*/ 336 h 168"/>
                <a:gd name="T38" fmla="*/ 211 w 142"/>
                <a:gd name="T39" fmla="*/ 343 h 168"/>
                <a:gd name="T40" fmla="*/ 169 w 142"/>
                <a:gd name="T41" fmla="*/ 336 h 168"/>
                <a:gd name="T42" fmla="*/ 134 w 142"/>
                <a:gd name="T43" fmla="*/ 336 h 168"/>
                <a:gd name="T44" fmla="*/ 100 w 142"/>
                <a:gd name="T45" fmla="*/ 348 h 168"/>
                <a:gd name="T46" fmla="*/ 39 w 142"/>
                <a:gd name="T47" fmla="*/ 336 h 168"/>
                <a:gd name="T48" fmla="*/ 0 w 142"/>
                <a:gd name="T49" fmla="*/ 311 h 168"/>
                <a:gd name="T50" fmla="*/ 108 w 142"/>
                <a:gd name="T51" fmla="*/ 226 h 168"/>
                <a:gd name="T52" fmla="*/ 169 w 142"/>
                <a:gd name="T53" fmla="*/ 115 h 168"/>
                <a:gd name="T54" fmla="*/ 227 w 142"/>
                <a:gd name="T55" fmla="*/ 98 h 168"/>
                <a:gd name="T56" fmla="*/ 256 w 142"/>
                <a:gd name="T57" fmla="*/ 136 h 168"/>
                <a:gd name="T58" fmla="*/ 227 w 142"/>
                <a:gd name="T59" fmla="*/ 145 h 168"/>
                <a:gd name="T60" fmla="*/ 217 w 142"/>
                <a:gd name="T61" fmla="*/ 193 h 168"/>
                <a:gd name="T62" fmla="*/ 310 w 142"/>
                <a:gd name="T63" fmla="*/ 193 h 168"/>
                <a:gd name="T64" fmla="*/ 341 w 142"/>
                <a:gd name="T65" fmla="*/ 150 h 168"/>
                <a:gd name="T66" fmla="*/ 303 w 142"/>
                <a:gd name="T67" fmla="*/ 139 h 168"/>
                <a:gd name="T68" fmla="*/ 318 w 142"/>
                <a:gd name="T69" fmla="*/ 115 h 168"/>
                <a:gd name="T70" fmla="*/ 272 w 142"/>
                <a:gd name="T71" fmla="*/ 107 h 168"/>
                <a:gd name="T72" fmla="*/ 272 w 142"/>
                <a:gd name="T73" fmla="*/ 72 h 168"/>
                <a:gd name="T74" fmla="*/ 280 w 142"/>
                <a:gd name="T75" fmla="*/ 44 h 168"/>
                <a:gd name="T76" fmla="*/ 366 w 142"/>
                <a:gd name="T77" fmla="*/ 11 h 168"/>
                <a:gd name="T78" fmla="*/ 479 w 142"/>
                <a:gd name="T79" fmla="*/ 0 h 168"/>
                <a:gd name="T80" fmla="*/ 520 w 142"/>
                <a:gd name="T81" fmla="*/ 26 h 168"/>
                <a:gd name="T82" fmla="*/ 542 w 142"/>
                <a:gd name="T83" fmla="*/ 44 h 16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42"/>
                <a:gd name="T127" fmla="*/ 0 h 168"/>
                <a:gd name="T128" fmla="*/ 142 w 142"/>
                <a:gd name="T129" fmla="*/ 168 h 16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42" h="168">
                  <a:moveTo>
                    <a:pt x="140" y="16"/>
                  </a:moveTo>
                  <a:lnTo>
                    <a:pt x="142" y="28"/>
                  </a:lnTo>
                  <a:lnTo>
                    <a:pt x="136" y="38"/>
                  </a:lnTo>
                  <a:lnTo>
                    <a:pt x="136" y="50"/>
                  </a:lnTo>
                  <a:lnTo>
                    <a:pt x="126" y="48"/>
                  </a:lnTo>
                  <a:lnTo>
                    <a:pt x="124" y="54"/>
                  </a:lnTo>
                  <a:lnTo>
                    <a:pt x="122" y="60"/>
                  </a:lnTo>
                  <a:lnTo>
                    <a:pt x="130" y="62"/>
                  </a:lnTo>
                  <a:lnTo>
                    <a:pt x="134" y="62"/>
                  </a:lnTo>
                  <a:lnTo>
                    <a:pt x="136" y="66"/>
                  </a:lnTo>
                  <a:lnTo>
                    <a:pt x="136" y="76"/>
                  </a:lnTo>
                  <a:lnTo>
                    <a:pt x="130" y="82"/>
                  </a:lnTo>
                  <a:lnTo>
                    <a:pt x="128" y="92"/>
                  </a:lnTo>
                  <a:lnTo>
                    <a:pt x="122" y="96"/>
                  </a:lnTo>
                  <a:lnTo>
                    <a:pt x="110" y="100"/>
                  </a:lnTo>
                  <a:lnTo>
                    <a:pt x="104" y="96"/>
                  </a:lnTo>
                  <a:lnTo>
                    <a:pt x="100" y="98"/>
                  </a:lnTo>
                  <a:lnTo>
                    <a:pt x="94" y="102"/>
                  </a:lnTo>
                  <a:lnTo>
                    <a:pt x="94" y="106"/>
                  </a:lnTo>
                  <a:lnTo>
                    <a:pt x="100" y="112"/>
                  </a:lnTo>
                  <a:lnTo>
                    <a:pt x="102" y="118"/>
                  </a:lnTo>
                  <a:lnTo>
                    <a:pt x="104" y="126"/>
                  </a:lnTo>
                  <a:lnTo>
                    <a:pt x="102" y="130"/>
                  </a:lnTo>
                  <a:lnTo>
                    <a:pt x="98" y="138"/>
                  </a:lnTo>
                  <a:lnTo>
                    <a:pt x="102" y="142"/>
                  </a:lnTo>
                  <a:lnTo>
                    <a:pt x="98" y="146"/>
                  </a:lnTo>
                  <a:lnTo>
                    <a:pt x="94" y="148"/>
                  </a:lnTo>
                  <a:lnTo>
                    <a:pt x="92" y="152"/>
                  </a:lnTo>
                  <a:lnTo>
                    <a:pt x="96" y="152"/>
                  </a:lnTo>
                  <a:lnTo>
                    <a:pt x="98" y="158"/>
                  </a:lnTo>
                  <a:lnTo>
                    <a:pt x="96" y="166"/>
                  </a:lnTo>
                  <a:lnTo>
                    <a:pt x="84" y="168"/>
                  </a:lnTo>
                  <a:lnTo>
                    <a:pt x="84" y="158"/>
                  </a:lnTo>
                  <a:lnTo>
                    <a:pt x="86" y="156"/>
                  </a:lnTo>
                  <a:lnTo>
                    <a:pt x="88" y="144"/>
                  </a:lnTo>
                  <a:lnTo>
                    <a:pt x="76" y="134"/>
                  </a:lnTo>
                  <a:lnTo>
                    <a:pt x="66" y="136"/>
                  </a:lnTo>
                  <a:lnTo>
                    <a:pt x="62" y="126"/>
                  </a:lnTo>
                  <a:lnTo>
                    <a:pt x="58" y="124"/>
                  </a:lnTo>
                  <a:lnTo>
                    <a:pt x="54" y="128"/>
                  </a:lnTo>
                  <a:lnTo>
                    <a:pt x="50" y="120"/>
                  </a:lnTo>
                  <a:lnTo>
                    <a:pt x="44" y="126"/>
                  </a:lnTo>
                  <a:lnTo>
                    <a:pt x="40" y="126"/>
                  </a:lnTo>
                  <a:lnTo>
                    <a:pt x="34" y="126"/>
                  </a:lnTo>
                  <a:lnTo>
                    <a:pt x="34" y="130"/>
                  </a:lnTo>
                  <a:lnTo>
                    <a:pt x="26" y="130"/>
                  </a:lnTo>
                  <a:lnTo>
                    <a:pt x="18" y="130"/>
                  </a:lnTo>
                  <a:lnTo>
                    <a:pt x="10" y="126"/>
                  </a:lnTo>
                  <a:lnTo>
                    <a:pt x="8" y="122"/>
                  </a:lnTo>
                  <a:lnTo>
                    <a:pt x="0" y="116"/>
                  </a:lnTo>
                  <a:lnTo>
                    <a:pt x="14" y="102"/>
                  </a:lnTo>
                  <a:lnTo>
                    <a:pt x="28" y="84"/>
                  </a:lnTo>
                  <a:lnTo>
                    <a:pt x="34" y="74"/>
                  </a:lnTo>
                  <a:lnTo>
                    <a:pt x="44" y="42"/>
                  </a:lnTo>
                  <a:lnTo>
                    <a:pt x="46" y="38"/>
                  </a:lnTo>
                  <a:lnTo>
                    <a:pt x="58" y="36"/>
                  </a:lnTo>
                  <a:lnTo>
                    <a:pt x="64" y="42"/>
                  </a:lnTo>
                  <a:lnTo>
                    <a:pt x="66" y="50"/>
                  </a:lnTo>
                  <a:lnTo>
                    <a:pt x="62" y="56"/>
                  </a:lnTo>
                  <a:lnTo>
                    <a:pt x="58" y="54"/>
                  </a:lnTo>
                  <a:lnTo>
                    <a:pt x="58" y="68"/>
                  </a:lnTo>
                  <a:lnTo>
                    <a:pt x="56" y="72"/>
                  </a:lnTo>
                  <a:lnTo>
                    <a:pt x="76" y="78"/>
                  </a:lnTo>
                  <a:lnTo>
                    <a:pt x="80" y="72"/>
                  </a:lnTo>
                  <a:lnTo>
                    <a:pt x="86" y="68"/>
                  </a:lnTo>
                  <a:lnTo>
                    <a:pt x="88" y="56"/>
                  </a:lnTo>
                  <a:lnTo>
                    <a:pt x="80" y="56"/>
                  </a:lnTo>
                  <a:lnTo>
                    <a:pt x="78" y="52"/>
                  </a:lnTo>
                  <a:lnTo>
                    <a:pt x="78" y="46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70" y="40"/>
                  </a:lnTo>
                  <a:lnTo>
                    <a:pt x="72" y="30"/>
                  </a:lnTo>
                  <a:lnTo>
                    <a:pt x="70" y="26"/>
                  </a:lnTo>
                  <a:lnTo>
                    <a:pt x="70" y="24"/>
                  </a:lnTo>
                  <a:lnTo>
                    <a:pt x="72" y="16"/>
                  </a:lnTo>
                  <a:lnTo>
                    <a:pt x="82" y="12"/>
                  </a:lnTo>
                  <a:lnTo>
                    <a:pt x="94" y="4"/>
                  </a:lnTo>
                  <a:lnTo>
                    <a:pt x="106" y="6"/>
                  </a:lnTo>
                  <a:lnTo>
                    <a:pt x="124" y="0"/>
                  </a:lnTo>
                  <a:lnTo>
                    <a:pt x="128" y="8"/>
                  </a:lnTo>
                  <a:lnTo>
                    <a:pt x="134" y="10"/>
                  </a:lnTo>
                  <a:lnTo>
                    <a:pt x="136" y="16"/>
                  </a:lnTo>
                  <a:lnTo>
                    <a:pt x="140" y="1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id="{57769B9D-D6E4-4EA8-9531-E3A66D6FE0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49775" y="4414838"/>
              <a:ext cx="244475" cy="190500"/>
            </a:xfrm>
            <a:custGeom>
              <a:avLst/>
              <a:gdLst>
                <a:gd name="T0" fmla="*/ 74 w 146"/>
                <a:gd name="T1" fmla="*/ 33 h 122"/>
                <a:gd name="T2" fmla="*/ 145 w 146"/>
                <a:gd name="T3" fmla="*/ 33 h 122"/>
                <a:gd name="T4" fmla="*/ 192 w 146"/>
                <a:gd name="T5" fmla="*/ 15 h 122"/>
                <a:gd name="T6" fmla="*/ 258 w 146"/>
                <a:gd name="T7" fmla="*/ 28 h 122"/>
                <a:gd name="T8" fmla="*/ 291 w 146"/>
                <a:gd name="T9" fmla="*/ 15 h 122"/>
                <a:gd name="T10" fmla="*/ 329 w 146"/>
                <a:gd name="T11" fmla="*/ 15 h 122"/>
                <a:gd name="T12" fmla="*/ 368 w 146"/>
                <a:gd name="T13" fmla="*/ 21 h 122"/>
                <a:gd name="T14" fmla="*/ 401 w 146"/>
                <a:gd name="T15" fmla="*/ 15 h 122"/>
                <a:gd name="T16" fmla="*/ 456 w 146"/>
                <a:gd name="T17" fmla="*/ 39 h 122"/>
                <a:gd name="T18" fmla="*/ 497 w 146"/>
                <a:gd name="T19" fmla="*/ 98 h 122"/>
                <a:gd name="T20" fmla="*/ 489 w 146"/>
                <a:gd name="T21" fmla="*/ 130 h 122"/>
                <a:gd name="T22" fmla="*/ 561 w 146"/>
                <a:gd name="T23" fmla="*/ 137 h 122"/>
                <a:gd name="T24" fmla="*/ 585 w 146"/>
                <a:gd name="T25" fmla="*/ 201 h 122"/>
                <a:gd name="T26" fmla="*/ 537 w 146"/>
                <a:gd name="T27" fmla="*/ 222 h 122"/>
                <a:gd name="T28" fmla="*/ 513 w 146"/>
                <a:gd name="T29" fmla="*/ 238 h 122"/>
                <a:gd name="T30" fmla="*/ 497 w 146"/>
                <a:gd name="T31" fmla="*/ 288 h 122"/>
                <a:gd name="T32" fmla="*/ 505 w 146"/>
                <a:gd name="T33" fmla="*/ 326 h 122"/>
                <a:gd name="T34" fmla="*/ 456 w 146"/>
                <a:gd name="T35" fmla="*/ 330 h 122"/>
                <a:gd name="T36" fmla="*/ 416 w 146"/>
                <a:gd name="T37" fmla="*/ 299 h 122"/>
                <a:gd name="T38" fmla="*/ 359 w 146"/>
                <a:gd name="T39" fmla="*/ 281 h 122"/>
                <a:gd name="T40" fmla="*/ 353 w 146"/>
                <a:gd name="T41" fmla="*/ 255 h 122"/>
                <a:gd name="T42" fmla="*/ 343 w 146"/>
                <a:gd name="T43" fmla="*/ 234 h 122"/>
                <a:gd name="T44" fmla="*/ 294 w 146"/>
                <a:gd name="T45" fmla="*/ 255 h 122"/>
                <a:gd name="T46" fmla="*/ 248 w 146"/>
                <a:gd name="T47" fmla="*/ 255 h 122"/>
                <a:gd name="T48" fmla="*/ 248 w 146"/>
                <a:gd name="T49" fmla="*/ 227 h 122"/>
                <a:gd name="T50" fmla="*/ 232 w 146"/>
                <a:gd name="T51" fmla="*/ 194 h 122"/>
                <a:gd name="T52" fmla="*/ 175 w 146"/>
                <a:gd name="T53" fmla="*/ 194 h 122"/>
                <a:gd name="T54" fmla="*/ 126 w 146"/>
                <a:gd name="T55" fmla="*/ 168 h 122"/>
                <a:gd name="T56" fmla="*/ 106 w 146"/>
                <a:gd name="T57" fmla="*/ 130 h 122"/>
                <a:gd name="T58" fmla="*/ 63 w 146"/>
                <a:gd name="T59" fmla="*/ 130 h 122"/>
                <a:gd name="T60" fmla="*/ 32 w 146"/>
                <a:gd name="T61" fmla="*/ 125 h 122"/>
                <a:gd name="T62" fmla="*/ 0 w 146"/>
                <a:gd name="T63" fmla="*/ 72 h 1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122"/>
                <a:gd name="T98" fmla="*/ 146 w 146"/>
                <a:gd name="T99" fmla="*/ 122 h 12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122">
                  <a:moveTo>
                    <a:pt x="0" y="26"/>
                  </a:moveTo>
                  <a:lnTo>
                    <a:pt x="18" y="12"/>
                  </a:lnTo>
                  <a:lnTo>
                    <a:pt x="26" y="8"/>
                  </a:lnTo>
                  <a:lnTo>
                    <a:pt x="36" y="12"/>
                  </a:lnTo>
                  <a:lnTo>
                    <a:pt x="44" y="12"/>
                  </a:lnTo>
                  <a:lnTo>
                    <a:pt x="48" y="6"/>
                  </a:lnTo>
                  <a:lnTo>
                    <a:pt x="56" y="10"/>
                  </a:lnTo>
                  <a:lnTo>
                    <a:pt x="64" y="10"/>
                  </a:lnTo>
                  <a:lnTo>
                    <a:pt x="72" y="10"/>
                  </a:lnTo>
                  <a:lnTo>
                    <a:pt x="72" y="6"/>
                  </a:lnTo>
                  <a:lnTo>
                    <a:pt x="78" y="6"/>
                  </a:lnTo>
                  <a:lnTo>
                    <a:pt x="82" y="6"/>
                  </a:lnTo>
                  <a:lnTo>
                    <a:pt x="88" y="0"/>
                  </a:lnTo>
                  <a:lnTo>
                    <a:pt x="92" y="8"/>
                  </a:lnTo>
                  <a:lnTo>
                    <a:pt x="96" y="4"/>
                  </a:lnTo>
                  <a:lnTo>
                    <a:pt x="100" y="6"/>
                  </a:lnTo>
                  <a:lnTo>
                    <a:pt x="104" y="16"/>
                  </a:lnTo>
                  <a:lnTo>
                    <a:pt x="114" y="14"/>
                  </a:lnTo>
                  <a:lnTo>
                    <a:pt x="126" y="24"/>
                  </a:lnTo>
                  <a:lnTo>
                    <a:pt x="124" y="36"/>
                  </a:lnTo>
                  <a:lnTo>
                    <a:pt x="122" y="38"/>
                  </a:lnTo>
                  <a:lnTo>
                    <a:pt x="122" y="48"/>
                  </a:lnTo>
                  <a:lnTo>
                    <a:pt x="134" y="46"/>
                  </a:lnTo>
                  <a:lnTo>
                    <a:pt x="140" y="50"/>
                  </a:lnTo>
                  <a:lnTo>
                    <a:pt x="144" y="62"/>
                  </a:lnTo>
                  <a:lnTo>
                    <a:pt x="146" y="74"/>
                  </a:lnTo>
                  <a:lnTo>
                    <a:pt x="138" y="84"/>
                  </a:lnTo>
                  <a:lnTo>
                    <a:pt x="134" y="82"/>
                  </a:lnTo>
                  <a:lnTo>
                    <a:pt x="132" y="84"/>
                  </a:lnTo>
                  <a:lnTo>
                    <a:pt x="128" y="88"/>
                  </a:lnTo>
                  <a:lnTo>
                    <a:pt x="124" y="96"/>
                  </a:lnTo>
                  <a:lnTo>
                    <a:pt x="124" y="106"/>
                  </a:lnTo>
                  <a:lnTo>
                    <a:pt x="130" y="110"/>
                  </a:lnTo>
                  <a:lnTo>
                    <a:pt x="126" y="120"/>
                  </a:lnTo>
                  <a:lnTo>
                    <a:pt x="126" y="118"/>
                  </a:lnTo>
                  <a:lnTo>
                    <a:pt x="114" y="122"/>
                  </a:lnTo>
                  <a:lnTo>
                    <a:pt x="112" y="116"/>
                  </a:lnTo>
                  <a:lnTo>
                    <a:pt x="104" y="110"/>
                  </a:lnTo>
                  <a:lnTo>
                    <a:pt x="100" y="106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88" y="94"/>
                  </a:lnTo>
                  <a:lnTo>
                    <a:pt x="90" y="84"/>
                  </a:lnTo>
                  <a:lnTo>
                    <a:pt x="86" y="86"/>
                  </a:lnTo>
                  <a:lnTo>
                    <a:pt x="82" y="94"/>
                  </a:lnTo>
                  <a:lnTo>
                    <a:pt x="74" y="94"/>
                  </a:lnTo>
                  <a:lnTo>
                    <a:pt x="68" y="96"/>
                  </a:lnTo>
                  <a:lnTo>
                    <a:pt x="62" y="94"/>
                  </a:lnTo>
                  <a:lnTo>
                    <a:pt x="64" y="88"/>
                  </a:lnTo>
                  <a:lnTo>
                    <a:pt x="62" y="84"/>
                  </a:lnTo>
                  <a:lnTo>
                    <a:pt x="64" y="76"/>
                  </a:lnTo>
                  <a:lnTo>
                    <a:pt x="58" y="72"/>
                  </a:lnTo>
                  <a:lnTo>
                    <a:pt x="48" y="70"/>
                  </a:lnTo>
                  <a:lnTo>
                    <a:pt x="44" y="72"/>
                  </a:lnTo>
                  <a:lnTo>
                    <a:pt x="42" y="62"/>
                  </a:lnTo>
                  <a:lnTo>
                    <a:pt x="32" y="62"/>
                  </a:lnTo>
                  <a:lnTo>
                    <a:pt x="30" y="60"/>
                  </a:lnTo>
                  <a:lnTo>
                    <a:pt x="26" y="48"/>
                  </a:lnTo>
                  <a:lnTo>
                    <a:pt x="24" y="42"/>
                  </a:lnTo>
                  <a:lnTo>
                    <a:pt x="16" y="48"/>
                  </a:lnTo>
                  <a:lnTo>
                    <a:pt x="14" y="50"/>
                  </a:lnTo>
                  <a:lnTo>
                    <a:pt x="8" y="46"/>
                  </a:lnTo>
                  <a:lnTo>
                    <a:pt x="4" y="38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65FC7285-B737-42E7-BDED-C702F189B05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4525" y="3914775"/>
              <a:ext cx="368300" cy="266700"/>
            </a:xfrm>
            <a:custGeom>
              <a:avLst/>
              <a:gdLst>
                <a:gd name="T0" fmla="*/ 260 w 222"/>
                <a:gd name="T1" fmla="*/ 342 h 172"/>
                <a:gd name="T2" fmla="*/ 265 w 222"/>
                <a:gd name="T3" fmla="*/ 305 h 172"/>
                <a:gd name="T4" fmla="*/ 278 w 222"/>
                <a:gd name="T5" fmla="*/ 271 h 172"/>
                <a:gd name="T6" fmla="*/ 245 w 222"/>
                <a:gd name="T7" fmla="*/ 258 h 172"/>
                <a:gd name="T8" fmla="*/ 204 w 222"/>
                <a:gd name="T9" fmla="*/ 247 h 172"/>
                <a:gd name="T10" fmla="*/ 156 w 222"/>
                <a:gd name="T11" fmla="*/ 242 h 172"/>
                <a:gd name="T12" fmla="*/ 87 w 222"/>
                <a:gd name="T13" fmla="*/ 221 h 172"/>
                <a:gd name="T14" fmla="*/ 62 w 222"/>
                <a:gd name="T15" fmla="*/ 206 h 172"/>
                <a:gd name="T16" fmla="*/ 25 w 222"/>
                <a:gd name="T17" fmla="*/ 210 h 172"/>
                <a:gd name="T18" fmla="*/ 10 w 222"/>
                <a:gd name="T19" fmla="*/ 141 h 172"/>
                <a:gd name="T20" fmla="*/ 0 w 222"/>
                <a:gd name="T21" fmla="*/ 63 h 172"/>
                <a:gd name="T22" fmla="*/ 57 w 222"/>
                <a:gd name="T23" fmla="*/ 36 h 172"/>
                <a:gd name="T24" fmla="*/ 172 w 222"/>
                <a:gd name="T25" fmla="*/ 0 h 172"/>
                <a:gd name="T26" fmla="*/ 265 w 222"/>
                <a:gd name="T27" fmla="*/ 11 h 172"/>
                <a:gd name="T28" fmla="*/ 308 w 222"/>
                <a:gd name="T29" fmla="*/ 15 h 172"/>
                <a:gd name="T30" fmla="*/ 339 w 222"/>
                <a:gd name="T31" fmla="*/ 11 h 172"/>
                <a:gd name="T32" fmla="*/ 411 w 222"/>
                <a:gd name="T33" fmla="*/ 15 h 172"/>
                <a:gd name="T34" fmla="*/ 479 w 222"/>
                <a:gd name="T35" fmla="*/ 31 h 172"/>
                <a:gd name="T36" fmla="*/ 542 w 222"/>
                <a:gd name="T37" fmla="*/ 26 h 172"/>
                <a:gd name="T38" fmla="*/ 601 w 222"/>
                <a:gd name="T39" fmla="*/ 0 h 172"/>
                <a:gd name="T40" fmla="*/ 647 w 222"/>
                <a:gd name="T41" fmla="*/ 47 h 172"/>
                <a:gd name="T42" fmla="*/ 733 w 222"/>
                <a:gd name="T43" fmla="*/ 74 h 172"/>
                <a:gd name="T44" fmla="*/ 796 w 222"/>
                <a:gd name="T45" fmla="*/ 117 h 172"/>
                <a:gd name="T46" fmla="*/ 851 w 222"/>
                <a:gd name="T47" fmla="*/ 137 h 172"/>
                <a:gd name="T48" fmla="*/ 843 w 222"/>
                <a:gd name="T49" fmla="*/ 175 h 172"/>
                <a:gd name="T50" fmla="*/ 851 w 222"/>
                <a:gd name="T51" fmla="*/ 198 h 172"/>
                <a:gd name="T52" fmla="*/ 866 w 222"/>
                <a:gd name="T53" fmla="*/ 210 h 172"/>
                <a:gd name="T54" fmla="*/ 851 w 222"/>
                <a:gd name="T55" fmla="*/ 236 h 172"/>
                <a:gd name="T56" fmla="*/ 828 w 222"/>
                <a:gd name="T57" fmla="*/ 230 h 172"/>
                <a:gd name="T58" fmla="*/ 796 w 222"/>
                <a:gd name="T59" fmla="*/ 247 h 172"/>
                <a:gd name="T60" fmla="*/ 740 w 222"/>
                <a:gd name="T61" fmla="*/ 261 h 172"/>
                <a:gd name="T62" fmla="*/ 719 w 222"/>
                <a:gd name="T63" fmla="*/ 295 h 172"/>
                <a:gd name="T64" fmla="*/ 719 w 222"/>
                <a:gd name="T65" fmla="*/ 331 h 172"/>
                <a:gd name="T66" fmla="*/ 694 w 222"/>
                <a:gd name="T67" fmla="*/ 362 h 172"/>
                <a:gd name="T68" fmla="*/ 719 w 222"/>
                <a:gd name="T69" fmla="*/ 372 h 172"/>
                <a:gd name="T70" fmla="*/ 703 w 222"/>
                <a:gd name="T71" fmla="*/ 405 h 172"/>
                <a:gd name="T72" fmla="*/ 687 w 222"/>
                <a:gd name="T73" fmla="*/ 382 h 172"/>
                <a:gd name="T74" fmla="*/ 662 w 222"/>
                <a:gd name="T75" fmla="*/ 389 h 172"/>
                <a:gd name="T76" fmla="*/ 613 w 222"/>
                <a:gd name="T77" fmla="*/ 405 h 172"/>
                <a:gd name="T78" fmla="*/ 573 w 222"/>
                <a:gd name="T79" fmla="*/ 409 h 172"/>
                <a:gd name="T80" fmla="*/ 566 w 222"/>
                <a:gd name="T81" fmla="*/ 436 h 172"/>
                <a:gd name="T82" fmla="*/ 512 w 222"/>
                <a:gd name="T83" fmla="*/ 450 h 172"/>
                <a:gd name="T84" fmla="*/ 479 w 222"/>
                <a:gd name="T85" fmla="*/ 436 h 172"/>
                <a:gd name="T86" fmla="*/ 426 w 222"/>
                <a:gd name="T87" fmla="*/ 447 h 172"/>
                <a:gd name="T88" fmla="*/ 387 w 222"/>
                <a:gd name="T89" fmla="*/ 438 h 172"/>
                <a:gd name="T90" fmla="*/ 369 w 222"/>
                <a:gd name="T91" fmla="*/ 416 h 172"/>
                <a:gd name="T92" fmla="*/ 308 w 222"/>
                <a:gd name="T93" fmla="*/ 358 h 1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2"/>
                <a:gd name="T142" fmla="*/ 0 h 172"/>
                <a:gd name="T143" fmla="*/ 222 w 222"/>
                <a:gd name="T144" fmla="*/ 172 h 1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2" h="172">
                  <a:moveTo>
                    <a:pt x="66" y="136"/>
                  </a:moveTo>
                  <a:lnTo>
                    <a:pt x="66" y="134"/>
                  </a:lnTo>
                  <a:lnTo>
                    <a:pt x="66" y="130"/>
                  </a:lnTo>
                  <a:lnTo>
                    <a:pt x="66" y="126"/>
                  </a:lnTo>
                  <a:lnTo>
                    <a:pt x="66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0" y="108"/>
                  </a:lnTo>
                  <a:lnTo>
                    <a:pt x="70" y="104"/>
                  </a:lnTo>
                  <a:lnTo>
                    <a:pt x="68" y="102"/>
                  </a:lnTo>
                  <a:lnTo>
                    <a:pt x="64" y="100"/>
                  </a:lnTo>
                  <a:lnTo>
                    <a:pt x="62" y="98"/>
                  </a:lnTo>
                  <a:lnTo>
                    <a:pt x="60" y="94"/>
                  </a:lnTo>
                  <a:lnTo>
                    <a:pt x="58" y="94"/>
                  </a:lnTo>
                  <a:lnTo>
                    <a:pt x="52" y="94"/>
                  </a:lnTo>
                  <a:lnTo>
                    <a:pt x="44" y="94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0" y="90"/>
                  </a:lnTo>
                  <a:lnTo>
                    <a:pt x="26" y="88"/>
                  </a:lnTo>
                  <a:lnTo>
                    <a:pt x="22" y="84"/>
                  </a:lnTo>
                  <a:lnTo>
                    <a:pt x="18" y="84"/>
                  </a:lnTo>
                  <a:lnTo>
                    <a:pt x="16" y="82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8" y="82"/>
                  </a:lnTo>
                  <a:lnTo>
                    <a:pt x="6" y="80"/>
                  </a:lnTo>
                  <a:lnTo>
                    <a:pt x="10" y="80"/>
                  </a:lnTo>
                  <a:lnTo>
                    <a:pt x="10" y="74"/>
                  </a:lnTo>
                  <a:lnTo>
                    <a:pt x="2" y="54"/>
                  </a:lnTo>
                  <a:lnTo>
                    <a:pt x="2" y="50"/>
                  </a:lnTo>
                  <a:lnTo>
                    <a:pt x="2" y="28"/>
                  </a:lnTo>
                  <a:lnTo>
                    <a:pt x="0" y="24"/>
                  </a:lnTo>
                  <a:lnTo>
                    <a:pt x="8" y="24"/>
                  </a:lnTo>
                  <a:lnTo>
                    <a:pt x="10" y="18"/>
                  </a:lnTo>
                  <a:lnTo>
                    <a:pt x="14" y="14"/>
                  </a:lnTo>
                  <a:lnTo>
                    <a:pt x="22" y="10"/>
                  </a:lnTo>
                  <a:lnTo>
                    <a:pt x="32" y="6"/>
                  </a:lnTo>
                  <a:lnTo>
                    <a:pt x="44" y="0"/>
                  </a:lnTo>
                  <a:lnTo>
                    <a:pt x="52" y="2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2" y="2"/>
                  </a:lnTo>
                  <a:lnTo>
                    <a:pt x="76" y="2"/>
                  </a:lnTo>
                  <a:lnTo>
                    <a:pt x="78" y="6"/>
                  </a:lnTo>
                  <a:lnTo>
                    <a:pt x="80" y="8"/>
                  </a:lnTo>
                  <a:lnTo>
                    <a:pt x="84" y="6"/>
                  </a:lnTo>
                  <a:lnTo>
                    <a:pt x="86" y="4"/>
                  </a:lnTo>
                  <a:lnTo>
                    <a:pt x="92" y="6"/>
                  </a:lnTo>
                  <a:lnTo>
                    <a:pt x="98" y="8"/>
                  </a:lnTo>
                  <a:lnTo>
                    <a:pt x="104" y="6"/>
                  </a:lnTo>
                  <a:lnTo>
                    <a:pt x="114" y="6"/>
                  </a:lnTo>
                  <a:lnTo>
                    <a:pt x="118" y="10"/>
                  </a:lnTo>
                  <a:lnTo>
                    <a:pt x="122" y="12"/>
                  </a:lnTo>
                  <a:lnTo>
                    <a:pt x="128" y="10"/>
                  </a:lnTo>
                  <a:lnTo>
                    <a:pt x="132" y="10"/>
                  </a:lnTo>
                  <a:lnTo>
                    <a:pt x="138" y="10"/>
                  </a:lnTo>
                  <a:lnTo>
                    <a:pt x="144" y="4"/>
                  </a:lnTo>
                  <a:lnTo>
                    <a:pt x="148" y="2"/>
                  </a:lnTo>
                  <a:lnTo>
                    <a:pt x="152" y="0"/>
                  </a:lnTo>
                  <a:lnTo>
                    <a:pt x="152" y="10"/>
                  </a:lnTo>
                  <a:lnTo>
                    <a:pt x="158" y="14"/>
                  </a:lnTo>
                  <a:lnTo>
                    <a:pt x="164" y="18"/>
                  </a:lnTo>
                  <a:lnTo>
                    <a:pt x="174" y="20"/>
                  </a:lnTo>
                  <a:lnTo>
                    <a:pt x="180" y="20"/>
                  </a:lnTo>
                  <a:lnTo>
                    <a:pt x="186" y="28"/>
                  </a:lnTo>
                  <a:lnTo>
                    <a:pt x="194" y="34"/>
                  </a:lnTo>
                  <a:lnTo>
                    <a:pt x="200" y="40"/>
                  </a:lnTo>
                  <a:lnTo>
                    <a:pt x="202" y="44"/>
                  </a:lnTo>
                  <a:lnTo>
                    <a:pt x="204" y="48"/>
                  </a:lnTo>
                  <a:lnTo>
                    <a:pt x="210" y="52"/>
                  </a:lnTo>
                  <a:lnTo>
                    <a:pt x="216" y="52"/>
                  </a:lnTo>
                  <a:lnTo>
                    <a:pt x="216" y="58"/>
                  </a:lnTo>
                  <a:lnTo>
                    <a:pt x="214" y="62"/>
                  </a:lnTo>
                  <a:lnTo>
                    <a:pt x="214" y="66"/>
                  </a:lnTo>
                  <a:lnTo>
                    <a:pt x="212" y="70"/>
                  </a:lnTo>
                  <a:lnTo>
                    <a:pt x="210" y="74"/>
                  </a:lnTo>
                  <a:lnTo>
                    <a:pt x="216" y="76"/>
                  </a:lnTo>
                  <a:lnTo>
                    <a:pt x="220" y="76"/>
                  </a:lnTo>
                  <a:lnTo>
                    <a:pt x="222" y="78"/>
                  </a:lnTo>
                  <a:lnTo>
                    <a:pt x="220" y="80"/>
                  </a:lnTo>
                  <a:lnTo>
                    <a:pt x="218" y="80"/>
                  </a:lnTo>
                  <a:lnTo>
                    <a:pt x="216" y="84"/>
                  </a:lnTo>
                  <a:lnTo>
                    <a:pt x="216" y="90"/>
                  </a:lnTo>
                  <a:lnTo>
                    <a:pt x="214" y="90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06" y="88"/>
                  </a:lnTo>
                  <a:lnTo>
                    <a:pt x="202" y="88"/>
                  </a:lnTo>
                  <a:lnTo>
                    <a:pt x="202" y="94"/>
                  </a:lnTo>
                  <a:lnTo>
                    <a:pt x="200" y="98"/>
                  </a:lnTo>
                  <a:lnTo>
                    <a:pt x="194" y="100"/>
                  </a:lnTo>
                  <a:lnTo>
                    <a:pt x="188" y="100"/>
                  </a:lnTo>
                  <a:lnTo>
                    <a:pt x="186" y="104"/>
                  </a:lnTo>
                  <a:lnTo>
                    <a:pt x="184" y="108"/>
                  </a:lnTo>
                  <a:lnTo>
                    <a:pt x="182" y="112"/>
                  </a:lnTo>
                  <a:lnTo>
                    <a:pt x="180" y="118"/>
                  </a:lnTo>
                  <a:lnTo>
                    <a:pt x="182" y="122"/>
                  </a:lnTo>
                  <a:lnTo>
                    <a:pt x="182" y="126"/>
                  </a:lnTo>
                  <a:lnTo>
                    <a:pt x="178" y="132"/>
                  </a:lnTo>
                  <a:lnTo>
                    <a:pt x="178" y="136"/>
                  </a:lnTo>
                  <a:lnTo>
                    <a:pt x="176" y="138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82" y="142"/>
                  </a:lnTo>
                  <a:lnTo>
                    <a:pt x="184" y="150"/>
                  </a:lnTo>
                  <a:lnTo>
                    <a:pt x="182" y="154"/>
                  </a:lnTo>
                  <a:lnTo>
                    <a:pt x="178" y="154"/>
                  </a:lnTo>
                  <a:lnTo>
                    <a:pt x="174" y="154"/>
                  </a:lnTo>
                  <a:lnTo>
                    <a:pt x="174" y="148"/>
                  </a:lnTo>
                  <a:lnTo>
                    <a:pt x="174" y="146"/>
                  </a:lnTo>
                  <a:lnTo>
                    <a:pt x="172" y="144"/>
                  </a:lnTo>
                  <a:lnTo>
                    <a:pt x="168" y="146"/>
                  </a:lnTo>
                  <a:lnTo>
                    <a:pt x="168" y="148"/>
                  </a:lnTo>
                  <a:lnTo>
                    <a:pt x="162" y="148"/>
                  </a:lnTo>
                  <a:lnTo>
                    <a:pt x="160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0" y="154"/>
                  </a:lnTo>
                  <a:lnTo>
                    <a:pt x="146" y="156"/>
                  </a:lnTo>
                  <a:lnTo>
                    <a:pt x="148" y="162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6"/>
                  </a:lnTo>
                  <a:lnTo>
                    <a:pt x="138" y="166"/>
                  </a:lnTo>
                  <a:lnTo>
                    <a:pt x="130" y="172"/>
                  </a:lnTo>
                  <a:lnTo>
                    <a:pt x="126" y="172"/>
                  </a:lnTo>
                  <a:lnTo>
                    <a:pt x="124" y="168"/>
                  </a:lnTo>
                  <a:lnTo>
                    <a:pt x="122" y="166"/>
                  </a:lnTo>
                  <a:lnTo>
                    <a:pt x="118" y="168"/>
                  </a:lnTo>
                  <a:lnTo>
                    <a:pt x="112" y="168"/>
                  </a:lnTo>
                  <a:lnTo>
                    <a:pt x="108" y="170"/>
                  </a:lnTo>
                  <a:lnTo>
                    <a:pt x="102" y="168"/>
                  </a:lnTo>
                  <a:lnTo>
                    <a:pt x="100" y="170"/>
                  </a:lnTo>
                  <a:lnTo>
                    <a:pt x="98" y="168"/>
                  </a:lnTo>
                  <a:lnTo>
                    <a:pt x="96" y="164"/>
                  </a:lnTo>
                  <a:lnTo>
                    <a:pt x="96" y="162"/>
                  </a:lnTo>
                  <a:lnTo>
                    <a:pt x="94" y="158"/>
                  </a:lnTo>
                  <a:lnTo>
                    <a:pt x="90" y="142"/>
                  </a:lnTo>
                  <a:lnTo>
                    <a:pt x="78" y="136"/>
                  </a:lnTo>
                  <a:lnTo>
                    <a:pt x="66" y="13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1">
              <a:extLst>
                <a:ext uri="{FF2B5EF4-FFF2-40B4-BE49-F238E27FC236}">
                  <a16:creationId xmlns:a16="http://schemas.microsoft.com/office/drawing/2014/main" id="{C228CA2A-2694-46CA-AC42-5067B996A67F}"/>
                </a:ext>
              </a:extLst>
            </p:cNvPr>
            <p:cNvSpPr>
              <a:spLocks/>
            </p:cNvSpPr>
            <p:nvPr/>
          </p:nvSpPr>
          <p:spPr bwMode="gray">
            <a:xfrm>
              <a:off x="4757738" y="4543425"/>
              <a:ext cx="49212" cy="65087"/>
            </a:xfrm>
            <a:custGeom>
              <a:avLst/>
              <a:gdLst>
                <a:gd name="T0" fmla="*/ 2 w 30"/>
                <a:gd name="T1" fmla="*/ 83 h 42"/>
                <a:gd name="T2" fmla="*/ 21 w 30"/>
                <a:gd name="T3" fmla="*/ 63 h 42"/>
                <a:gd name="T4" fmla="*/ 0 w 30"/>
                <a:gd name="T5" fmla="*/ 53 h 42"/>
                <a:gd name="T6" fmla="*/ 0 w 30"/>
                <a:gd name="T7" fmla="*/ 31 h 42"/>
                <a:gd name="T8" fmla="*/ 14 w 30"/>
                <a:gd name="T9" fmla="*/ 13 h 42"/>
                <a:gd name="T10" fmla="*/ 28 w 30"/>
                <a:gd name="T11" fmla="*/ 2 h 42"/>
                <a:gd name="T12" fmla="*/ 35 w 30"/>
                <a:gd name="T13" fmla="*/ 0 h 42"/>
                <a:gd name="T14" fmla="*/ 48 w 30"/>
                <a:gd name="T15" fmla="*/ 2 h 42"/>
                <a:gd name="T16" fmla="*/ 48 w 30"/>
                <a:gd name="T17" fmla="*/ 22 h 42"/>
                <a:gd name="T18" fmla="*/ 78 w 30"/>
                <a:gd name="T19" fmla="*/ 40 h 42"/>
                <a:gd name="T20" fmla="*/ 106 w 30"/>
                <a:gd name="T21" fmla="*/ 45 h 42"/>
                <a:gd name="T22" fmla="*/ 106 w 30"/>
                <a:gd name="T23" fmla="*/ 63 h 42"/>
                <a:gd name="T24" fmla="*/ 86 w 30"/>
                <a:gd name="T25" fmla="*/ 72 h 42"/>
                <a:gd name="T26" fmla="*/ 90 w 30"/>
                <a:gd name="T27" fmla="*/ 94 h 42"/>
                <a:gd name="T28" fmla="*/ 86 w 30"/>
                <a:gd name="T29" fmla="*/ 91 h 42"/>
                <a:gd name="T30" fmla="*/ 48 w 30"/>
                <a:gd name="T31" fmla="*/ 91 h 42"/>
                <a:gd name="T32" fmla="*/ 2 w 30"/>
                <a:gd name="T33" fmla="*/ 83 h 42"/>
                <a:gd name="T34" fmla="*/ 2 w 30"/>
                <a:gd name="T35" fmla="*/ 83 h 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"/>
                <a:gd name="T55" fmla="*/ 0 h 42"/>
                <a:gd name="T56" fmla="*/ 30 w 30"/>
                <a:gd name="T57" fmla="*/ 42 h 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" h="42">
                  <a:moveTo>
                    <a:pt x="2" y="38"/>
                  </a:moveTo>
                  <a:lnTo>
                    <a:pt x="6" y="28"/>
                  </a:lnTo>
                  <a:lnTo>
                    <a:pt x="0" y="24"/>
                  </a:lnTo>
                  <a:lnTo>
                    <a:pt x="0" y="14"/>
                  </a:lnTo>
                  <a:lnTo>
                    <a:pt x="4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4" y="2"/>
                  </a:lnTo>
                  <a:lnTo>
                    <a:pt x="14" y="10"/>
                  </a:lnTo>
                  <a:lnTo>
                    <a:pt x="22" y="18"/>
                  </a:lnTo>
                  <a:lnTo>
                    <a:pt x="30" y="20"/>
                  </a:lnTo>
                  <a:lnTo>
                    <a:pt x="30" y="28"/>
                  </a:lnTo>
                  <a:lnTo>
                    <a:pt x="24" y="32"/>
                  </a:lnTo>
                  <a:lnTo>
                    <a:pt x="26" y="42"/>
                  </a:lnTo>
                  <a:lnTo>
                    <a:pt x="24" y="40"/>
                  </a:lnTo>
                  <a:lnTo>
                    <a:pt x="14" y="40"/>
                  </a:lnTo>
                  <a:lnTo>
                    <a:pt x="2" y="3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2">
              <a:extLst>
                <a:ext uri="{FF2B5EF4-FFF2-40B4-BE49-F238E27FC236}">
                  <a16:creationId xmlns:a16="http://schemas.microsoft.com/office/drawing/2014/main" id="{A231495D-CA7F-42D0-8B2A-E50E8208D7D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900" y="4456113"/>
              <a:ext cx="419100" cy="233362"/>
            </a:xfrm>
            <a:custGeom>
              <a:avLst/>
              <a:gdLst>
                <a:gd name="T0" fmla="*/ 212 w 254"/>
                <a:gd name="T1" fmla="*/ 329 h 150"/>
                <a:gd name="T2" fmla="*/ 173 w 254"/>
                <a:gd name="T3" fmla="*/ 314 h 150"/>
                <a:gd name="T4" fmla="*/ 89 w 254"/>
                <a:gd name="T5" fmla="*/ 268 h 150"/>
                <a:gd name="T6" fmla="*/ 46 w 254"/>
                <a:gd name="T7" fmla="*/ 221 h 150"/>
                <a:gd name="T8" fmla="*/ 50 w 254"/>
                <a:gd name="T9" fmla="*/ 167 h 150"/>
                <a:gd name="T10" fmla="*/ 0 w 254"/>
                <a:gd name="T11" fmla="*/ 130 h 150"/>
                <a:gd name="T12" fmla="*/ 50 w 254"/>
                <a:gd name="T13" fmla="*/ 109 h 150"/>
                <a:gd name="T14" fmla="*/ 111 w 254"/>
                <a:gd name="T15" fmla="*/ 86 h 150"/>
                <a:gd name="T16" fmla="*/ 173 w 254"/>
                <a:gd name="T17" fmla="*/ 63 h 150"/>
                <a:gd name="T18" fmla="*/ 243 w 254"/>
                <a:gd name="T19" fmla="*/ 47 h 150"/>
                <a:gd name="T20" fmla="*/ 293 w 254"/>
                <a:gd name="T21" fmla="*/ 26 h 150"/>
                <a:gd name="T22" fmla="*/ 324 w 254"/>
                <a:gd name="T23" fmla="*/ 0 h 150"/>
                <a:gd name="T24" fmla="*/ 369 w 254"/>
                <a:gd name="T25" fmla="*/ 31 h 150"/>
                <a:gd name="T26" fmla="*/ 408 w 254"/>
                <a:gd name="T27" fmla="*/ 15 h 150"/>
                <a:gd name="T28" fmla="*/ 429 w 254"/>
                <a:gd name="T29" fmla="*/ 0 h 150"/>
                <a:gd name="T30" fmla="*/ 477 w 254"/>
                <a:gd name="T31" fmla="*/ 36 h 150"/>
                <a:gd name="T32" fmla="*/ 528 w 254"/>
                <a:gd name="T33" fmla="*/ 57 h 150"/>
                <a:gd name="T34" fmla="*/ 583 w 254"/>
                <a:gd name="T35" fmla="*/ 63 h 150"/>
                <a:gd name="T36" fmla="*/ 612 w 254"/>
                <a:gd name="T37" fmla="*/ 74 h 150"/>
                <a:gd name="T38" fmla="*/ 583 w 254"/>
                <a:gd name="T39" fmla="*/ 93 h 150"/>
                <a:gd name="T40" fmla="*/ 658 w 254"/>
                <a:gd name="T41" fmla="*/ 145 h 150"/>
                <a:gd name="T42" fmla="*/ 683 w 254"/>
                <a:gd name="T43" fmla="*/ 104 h 150"/>
                <a:gd name="T44" fmla="*/ 734 w 254"/>
                <a:gd name="T45" fmla="*/ 109 h 150"/>
                <a:gd name="T46" fmla="*/ 779 w 254"/>
                <a:gd name="T47" fmla="*/ 136 h 150"/>
                <a:gd name="T48" fmla="*/ 802 w 254"/>
                <a:gd name="T49" fmla="*/ 164 h 150"/>
                <a:gd name="T50" fmla="*/ 869 w 254"/>
                <a:gd name="T51" fmla="*/ 167 h 150"/>
                <a:gd name="T52" fmla="*/ 930 w 254"/>
                <a:gd name="T53" fmla="*/ 208 h 150"/>
                <a:gd name="T54" fmla="*/ 961 w 254"/>
                <a:gd name="T55" fmla="*/ 233 h 150"/>
                <a:gd name="T56" fmla="*/ 942 w 254"/>
                <a:gd name="T57" fmla="*/ 241 h 150"/>
                <a:gd name="T58" fmla="*/ 925 w 254"/>
                <a:gd name="T59" fmla="*/ 244 h 150"/>
                <a:gd name="T60" fmla="*/ 900 w 254"/>
                <a:gd name="T61" fmla="*/ 260 h 150"/>
                <a:gd name="T62" fmla="*/ 879 w 254"/>
                <a:gd name="T63" fmla="*/ 271 h 150"/>
                <a:gd name="T64" fmla="*/ 862 w 254"/>
                <a:gd name="T65" fmla="*/ 283 h 150"/>
                <a:gd name="T66" fmla="*/ 854 w 254"/>
                <a:gd name="T67" fmla="*/ 307 h 150"/>
                <a:gd name="T68" fmla="*/ 831 w 254"/>
                <a:gd name="T69" fmla="*/ 314 h 150"/>
                <a:gd name="T70" fmla="*/ 822 w 254"/>
                <a:gd name="T71" fmla="*/ 329 h 150"/>
                <a:gd name="T72" fmla="*/ 809 w 254"/>
                <a:gd name="T73" fmla="*/ 334 h 150"/>
                <a:gd name="T74" fmla="*/ 785 w 254"/>
                <a:gd name="T75" fmla="*/ 341 h 150"/>
                <a:gd name="T76" fmla="*/ 764 w 254"/>
                <a:gd name="T77" fmla="*/ 346 h 150"/>
                <a:gd name="T78" fmla="*/ 755 w 254"/>
                <a:gd name="T79" fmla="*/ 346 h 150"/>
                <a:gd name="T80" fmla="*/ 728 w 254"/>
                <a:gd name="T81" fmla="*/ 334 h 150"/>
                <a:gd name="T82" fmla="*/ 711 w 254"/>
                <a:gd name="T83" fmla="*/ 346 h 150"/>
                <a:gd name="T84" fmla="*/ 696 w 254"/>
                <a:gd name="T85" fmla="*/ 364 h 150"/>
                <a:gd name="T86" fmla="*/ 683 w 254"/>
                <a:gd name="T87" fmla="*/ 372 h 150"/>
                <a:gd name="T88" fmla="*/ 490 w 254"/>
                <a:gd name="T89" fmla="*/ 348 h 150"/>
                <a:gd name="T90" fmla="*/ 316 w 254"/>
                <a:gd name="T91" fmla="*/ 392 h 150"/>
                <a:gd name="T92" fmla="*/ 247 w 254"/>
                <a:gd name="T93" fmla="*/ 374 h 15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150"/>
                <a:gd name="T143" fmla="*/ 254 w 254"/>
                <a:gd name="T144" fmla="*/ 150 h 15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150">
                  <a:moveTo>
                    <a:pt x="66" y="144"/>
                  </a:moveTo>
                  <a:lnTo>
                    <a:pt x="58" y="128"/>
                  </a:lnTo>
                  <a:lnTo>
                    <a:pt x="56" y="126"/>
                  </a:lnTo>
                  <a:lnTo>
                    <a:pt x="52" y="122"/>
                  </a:lnTo>
                  <a:lnTo>
                    <a:pt x="48" y="124"/>
                  </a:lnTo>
                  <a:lnTo>
                    <a:pt x="46" y="120"/>
                  </a:lnTo>
                  <a:lnTo>
                    <a:pt x="38" y="114"/>
                  </a:lnTo>
                  <a:lnTo>
                    <a:pt x="28" y="100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8" y="82"/>
                  </a:lnTo>
                  <a:lnTo>
                    <a:pt x="10" y="72"/>
                  </a:lnTo>
                  <a:lnTo>
                    <a:pt x="14" y="64"/>
                  </a:lnTo>
                  <a:lnTo>
                    <a:pt x="6" y="6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6" y="46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2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0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64" y="18"/>
                  </a:lnTo>
                  <a:lnTo>
                    <a:pt x="66" y="14"/>
                  </a:lnTo>
                  <a:lnTo>
                    <a:pt x="74" y="12"/>
                  </a:lnTo>
                  <a:lnTo>
                    <a:pt x="78" y="10"/>
                  </a:lnTo>
                  <a:lnTo>
                    <a:pt x="84" y="8"/>
                  </a:lnTo>
                  <a:lnTo>
                    <a:pt x="78" y="2"/>
                  </a:lnTo>
                  <a:lnTo>
                    <a:pt x="86" y="0"/>
                  </a:lnTo>
                  <a:lnTo>
                    <a:pt x="92" y="4"/>
                  </a:lnTo>
                  <a:lnTo>
                    <a:pt x="92" y="12"/>
                  </a:lnTo>
                  <a:lnTo>
                    <a:pt x="98" y="12"/>
                  </a:lnTo>
                  <a:lnTo>
                    <a:pt x="100" y="10"/>
                  </a:lnTo>
                  <a:lnTo>
                    <a:pt x="106" y="10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10"/>
                  </a:lnTo>
                  <a:lnTo>
                    <a:pt x="126" y="14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0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0" y="30"/>
                  </a:lnTo>
                  <a:lnTo>
                    <a:pt x="158" y="32"/>
                  </a:lnTo>
                  <a:lnTo>
                    <a:pt x="154" y="36"/>
                  </a:lnTo>
                  <a:lnTo>
                    <a:pt x="162" y="44"/>
                  </a:lnTo>
                  <a:lnTo>
                    <a:pt x="168" y="54"/>
                  </a:lnTo>
                  <a:lnTo>
                    <a:pt x="174" y="56"/>
                  </a:lnTo>
                  <a:lnTo>
                    <a:pt x="176" y="50"/>
                  </a:lnTo>
                  <a:lnTo>
                    <a:pt x="184" y="48"/>
                  </a:lnTo>
                  <a:lnTo>
                    <a:pt x="180" y="40"/>
                  </a:lnTo>
                  <a:lnTo>
                    <a:pt x="180" y="36"/>
                  </a:lnTo>
                  <a:lnTo>
                    <a:pt x="184" y="36"/>
                  </a:lnTo>
                  <a:lnTo>
                    <a:pt x="194" y="42"/>
                  </a:lnTo>
                  <a:lnTo>
                    <a:pt x="198" y="44"/>
                  </a:lnTo>
                  <a:lnTo>
                    <a:pt x="210" y="44"/>
                  </a:lnTo>
                  <a:lnTo>
                    <a:pt x="206" y="52"/>
                  </a:lnTo>
                  <a:lnTo>
                    <a:pt x="212" y="50"/>
                  </a:lnTo>
                  <a:lnTo>
                    <a:pt x="212" y="56"/>
                  </a:lnTo>
                  <a:lnTo>
                    <a:pt x="212" y="62"/>
                  </a:lnTo>
                  <a:lnTo>
                    <a:pt x="218" y="64"/>
                  </a:lnTo>
                  <a:lnTo>
                    <a:pt x="224" y="60"/>
                  </a:lnTo>
                  <a:lnTo>
                    <a:pt x="230" y="64"/>
                  </a:lnTo>
                  <a:lnTo>
                    <a:pt x="244" y="68"/>
                  </a:lnTo>
                  <a:lnTo>
                    <a:pt x="242" y="74"/>
                  </a:lnTo>
                  <a:lnTo>
                    <a:pt x="246" y="80"/>
                  </a:lnTo>
                  <a:lnTo>
                    <a:pt x="252" y="82"/>
                  </a:lnTo>
                  <a:lnTo>
                    <a:pt x="254" y="90"/>
                  </a:lnTo>
                  <a:lnTo>
                    <a:pt x="252" y="92"/>
                  </a:lnTo>
                  <a:lnTo>
                    <a:pt x="250" y="94"/>
                  </a:lnTo>
                  <a:lnTo>
                    <a:pt x="250" y="92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4"/>
                  </a:lnTo>
                  <a:lnTo>
                    <a:pt x="242" y="96"/>
                  </a:lnTo>
                  <a:lnTo>
                    <a:pt x="240" y="98"/>
                  </a:lnTo>
                  <a:lnTo>
                    <a:pt x="238" y="100"/>
                  </a:lnTo>
                  <a:lnTo>
                    <a:pt x="236" y="102"/>
                  </a:lnTo>
                  <a:lnTo>
                    <a:pt x="234" y="104"/>
                  </a:lnTo>
                  <a:lnTo>
                    <a:pt x="232" y="104"/>
                  </a:lnTo>
                  <a:lnTo>
                    <a:pt x="230" y="104"/>
                  </a:lnTo>
                  <a:lnTo>
                    <a:pt x="230" y="106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4" y="120"/>
                  </a:lnTo>
                  <a:lnTo>
                    <a:pt x="222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8" y="124"/>
                  </a:lnTo>
                  <a:lnTo>
                    <a:pt x="218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4" y="128"/>
                  </a:lnTo>
                  <a:lnTo>
                    <a:pt x="212" y="128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32"/>
                  </a:lnTo>
                  <a:lnTo>
                    <a:pt x="204" y="132"/>
                  </a:lnTo>
                  <a:lnTo>
                    <a:pt x="202" y="132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6" y="132"/>
                  </a:lnTo>
                  <a:lnTo>
                    <a:pt x="194" y="130"/>
                  </a:lnTo>
                  <a:lnTo>
                    <a:pt x="192" y="128"/>
                  </a:lnTo>
                  <a:lnTo>
                    <a:pt x="190" y="130"/>
                  </a:lnTo>
                  <a:lnTo>
                    <a:pt x="188" y="130"/>
                  </a:lnTo>
                  <a:lnTo>
                    <a:pt x="188" y="132"/>
                  </a:lnTo>
                  <a:lnTo>
                    <a:pt x="186" y="134"/>
                  </a:lnTo>
                  <a:lnTo>
                    <a:pt x="184" y="136"/>
                  </a:lnTo>
                  <a:lnTo>
                    <a:pt x="184" y="140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0" y="142"/>
                  </a:lnTo>
                  <a:lnTo>
                    <a:pt x="172" y="136"/>
                  </a:lnTo>
                  <a:lnTo>
                    <a:pt x="148" y="140"/>
                  </a:lnTo>
                  <a:lnTo>
                    <a:pt x="130" y="134"/>
                  </a:lnTo>
                  <a:lnTo>
                    <a:pt x="106" y="126"/>
                  </a:lnTo>
                  <a:lnTo>
                    <a:pt x="94" y="146"/>
                  </a:lnTo>
                  <a:lnTo>
                    <a:pt x="84" y="150"/>
                  </a:lnTo>
                  <a:lnTo>
                    <a:pt x="76" y="148"/>
                  </a:lnTo>
                  <a:lnTo>
                    <a:pt x="68" y="144"/>
                  </a:lnTo>
                  <a:lnTo>
                    <a:pt x="66" y="144"/>
                  </a:ln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3">
              <a:extLst>
                <a:ext uri="{FF2B5EF4-FFF2-40B4-BE49-F238E27FC236}">
                  <a16:creationId xmlns:a16="http://schemas.microsoft.com/office/drawing/2014/main" id="{29DE6F7A-28F3-4B6A-A817-40884DF4FB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87963" y="4095750"/>
              <a:ext cx="639762" cy="546100"/>
            </a:xfrm>
            <a:custGeom>
              <a:avLst/>
              <a:gdLst>
                <a:gd name="T0" fmla="*/ 1181 w 386"/>
                <a:gd name="T1" fmla="*/ 887 h 352"/>
                <a:gd name="T2" fmla="*/ 1120 w 386"/>
                <a:gd name="T3" fmla="*/ 849 h 352"/>
                <a:gd name="T4" fmla="*/ 1041 w 386"/>
                <a:gd name="T5" fmla="*/ 867 h 352"/>
                <a:gd name="T6" fmla="*/ 954 w 386"/>
                <a:gd name="T7" fmla="*/ 860 h 352"/>
                <a:gd name="T8" fmla="*/ 893 w 386"/>
                <a:gd name="T9" fmla="*/ 887 h 352"/>
                <a:gd name="T10" fmla="*/ 846 w 386"/>
                <a:gd name="T11" fmla="*/ 889 h 352"/>
                <a:gd name="T12" fmla="*/ 846 w 386"/>
                <a:gd name="T13" fmla="*/ 860 h 352"/>
                <a:gd name="T14" fmla="*/ 808 w 386"/>
                <a:gd name="T15" fmla="*/ 833 h 352"/>
                <a:gd name="T16" fmla="*/ 769 w 386"/>
                <a:gd name="T17" fmla="*/ 841 h 352"/>
                <a:gd name="T18" fmla="*/ 731 w 386"/>
                <a:gd name="T19" fmla="*/ 845 h 352"/>
                <a:gd name="T20" fmla="*/ 675 w 386"/>
                <a:gd name="T21" fmla="*/ 812 h 352"/>
                <a:gd name="T22" fmla="*/ 613 w 386"/>
                <a:gd name="T23" fmla="*/ 772 h 352"/>
                <a:gd name="T24" fmla="*/ 545 w 386"/>
                <a:gd name="T25" fmla="*/ 767 h 352"/>
                <a:gd name="T26" fmla="*/ 522 w 386"/>
                <a:gd name="T27" fmla="*/ 742 h 352"/>
                <a:gd name="T28" fmla="*/ 475 w 386"/>
                <a:gd name="T29" fmla="*/ 715 h 352"/>
                <a:gd name="T30" fmla="*/ 419 w 386"/>
                <a:gd name="T31" fmla="*/ 709 h 352"/>
                <a:gd name="T32" fmla="*/ 396 w 386"/>
                <a:gd name="T33" fmla="*/ 753 h 352"/>
                <a:gd name="T34" fmla="*/ 320 w 386"/>
                <a:gd name="T35" fmla="*/ 698 h 352"/>
                <a:gd name="T36" fmla="*/ 351 w 386"/>
                <a:gd name="T37" fmla="*/ 678 h 352"/>
                <a:gd name="T38" fmla="*/ 320 w 386"/>
                <a:gd name="T39" fmla="*/ 668 h 352"/>
                <a:gd name="T40" fmla="*/ 265 w 386"/>
                <a:gd name="T41" fmla="*/ 664 h 352"/>
                <a:gd name="T42" fmla="*/ 211 w 386"/>
                <a:gd name="T43" fmla="*/ 643 h 352"/>
                <a:gd name="T44" fmla="*/ 163 w 386"/>
                <a:gd name="T45" fmla="*/ 604 h 352"/>
                <a:gd name="T46" fmla="*/ 138 w 386"/>
                <a:gd name="T47" fmla="*/ 621 h 352"/>
                <a:gd name="T48" fmla="*/ 138 w 386"/>
                <a:gd name="T49" fmla="*/ 578 h 352"/>
                <a:gd name="T50" fmla="*/ 94 w 386"/>
                <a:gd name="T51" fmla="*/ 512 h 352"/>
                <a:gd name="T52" fmla="*/ 94 w 386"/>
                <a:gd name="T53" fmla="*/ 469 h 352"/>
                <a:gd name="T54" fmla="*/ 94 w 386"/>
                <a:gd name="T55" fmla="*/ 419 h 352"/>
                <a:gd name="T56" fmla="*/ 76 w 386"/>
                <a:gd name="T57" fmla="*/ 364 h 352"/>
                <a:gd name="T58" fmla="*/ 10 w 386"/>
                <a:gd name="T59" fmla="*/ 304 h 352"/>
                <a:gd name="T60" fmla="*/ 31 w 386"/>
                <a:gd name="T61" fmla="*/ 188 h 352"/>
                <a:gd name="T62" fmla="*/ 61 w 386"/>
                <a:gd name="T63" fmla="*/ 188 h 352"/>
                <a:gd name="T64" fmla="*/ 61 w 386"/>
                <a:gd name="T65" fmla="*/ 156 h 352"/>
                <a:gd name="T66" fmla="*/ 118 w 386"/>
                <a:gd name="T67" fmla="*/ 124 h 352"/>
                <a:gd name="T68" fmla="*/ 272 w 386"/>
                <a:gd name="T69" fmla="*/ 101 h 352"/>
                <a:gd name="T70" fmla="*/ 428 w 386"/>
                <a:gd name="T71" fmla="*/ 31 h 352"/>
                <a:gd name="T72" fmla="*/ 700 w 386"/>
                <a:gd name="T73" fmla="*/ 31 h 352"/>
                <a:gd name="T74" fmla="*/ 655 w 386"/>
                <a:gd name="T75" fmla="*/ 31 h 352"/>
                <a:gd name="T76" fmla="*/ 731 w 386"/>
                <a:gd name="T77" fmla="*/ 86 h 352"/>
                <a:gd name="T78" fmla="*/ 846 w 386"/>
                <a:gd name="T79" fmla="*/ 42 h 352"/>
                <a:gd name="T80" fmla="*/ 769 w 386"/>
                <a:gd name="T81" fmla="*/ 93 h 352"/>
                <a:gd name="T82" fmla="*/ 840 w 386"/>
                <a:gd name="T83" fmla="*/ 67 h 352"/>
                <a:gd name="T84" fmla="*/ 1088 w 386"/>
                <a:gd name="T85" fmla="*/ 63 h 352"/>
                <a:gd name="T86" fmla="*/ 1330 w 386"/>
                <a:gd name="T87" fmla="*/ 53 h 352"/>
                <a:gd name="T88" fmla="*/ 1399 w 386"/>
                <a:gd name="T89" fmla="*/ 120 h 352"/>
                <a:gd name="T90" fmla="*/ 1423 w 386"/>
                <a:gd name="T91" fmla="*/ 164 h 352"/>
                <a:gd name="T92" fmla="*/ 1468 w 386"/>
                <a:gd name="T93" fmla="*/ 329 h 352"/>
                <a:gd name="T94" fmla="*/ 1382 w 386"/>
                <a:gd name="T95" fmla="*/ 364 h 352"/>
                <a:gd name="T96" fmla="*/ 1376 w 386"/>
                <a:gd name="T97" fmla="*/ 412 h 352"/>
                <a:gd name="T98" fmla="*/ 1429 w 386"/>
                <a:gd name="T99" fmla="*/ 448 h 352"/>
                <a:gd name="T100" fmla="*/ 1413 w 386"/>
                <a:gd name="T101" fmla="*/ 526 h 352"/>
                <a:gd name="T102" fmla="*/ 1476 w 386"/>
                <a:gd name="T103" fmla="*/ 621 h 352"/>
                <a:gd name="T104" fmla="*/ 1476 w 386"/>
                <a:gd name="T105" fmla="*/ 645 h 352"/>
                <a:gd name="T106" fmla="*/ 1476 w 386"/>
                <a:gd name="T107" fmla="*/ 705 h 352"/>
                <a:gd name="T108" fmla="*/ 1392 w 386"/>
                <a:gd name="T109" fmla="*/ 753 h 352"/>
                <a:gd name="T110" fmla="*/ 1290 w 386"/>
                <a:gd name="T111" fmla="*/ 889 h 352"/>
                <a:gd name="T112" fmla="*/ 1268 w 386"/>
                <a:gd name="T113" fmla="*/ 920 h 352"/>
                <a:gd name="T114" fmla="*/ 39 w 386"/>
                <a:gd name="T115" fmla="*/ 151 h 352"/>
                <a:gd name="T116" fmla="*/ 31 w 386"/>
                <a:gd name="T117" fmla="*/ 136 h 352"/>
                <a:gd name="T118" fmla="*/ 56 w 386"/>
                <a:gd name="T119" fmla="*/ 145 h 352"/>
                <a:gd name="T120" fmla="*/ 16 w 386"/>
                <a:gd name="T121" fmla="*/ 156 h 352"/>
                <a:gd name="T122" fmla="*/ 0 w 386"/>
                <a:gd name="T123" fmla="*/ 136 h 35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86"/>
                <a:gd name="T187" fmla="*/ 0 h 352"/>
                <a:gd name="T188" fmla="*/ 386 w 386"/>
                <a:gd name="T189" fmla="*/ 352 h 35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86" h="352">
                  <a:moveTo>
                    <a:pt x="326" y="352"/>
                  </a:moveTo>
                  <a:lnTo>
                    <a:pt x="312" y="344"/>
                  </a:lnTo>
                  <a:lnTo>
                    <a:pt x="304" y="340"/>
                  </a:lnTo>
                  <a:lnTo>
                    <a:pt x="302" y="336"/>
                  </a:lnTo>
                  <a:lnTo>
                    <a:pt x="290" y="330"/>
                  </a:lnTo>
                  <a:lnTo>
                    <a:pt x="288" y="326"/>
                  </a:lnTo>
                  <a:lnTo>
                    <a:pt x="278" y="328"/>
                  </a:lnTo>
                  <a:lnTo>
                    <a:pt x="270" y="328"/>
                  </a:lnTo>
                  <a:lnTo>
                    <a:pt x="268" y="332"/>
                  </a:lnTo>
                  <a:lnTo>
                    <a:pt x="262" y="336"/>
                  </a:lnTo>
                  <a:lnTo>
                    <a:pt x="254" y="330"/>
                  </a:lnTo>
                  <a:lnTo>
                    <a:pt x="246" y="330"/>
                  </a:lnTo>
                  <a:lnTo>
                    <a:pt x="242" y="328"/>
                  </a:lnTo>
                  <a:lnTo>
                    <a:pt x="232" y="334"/>
                  </a:lnTo>
                  <a:lnTo>
                    <a:pt x="230" y="340"/>
                  </a:lnTo>
                  <a:lnTo>
                    <a:pt x="228" y="342"/>
                  </a:lnTo>
                  <a:lnTo>
                    <a:pt x="226" y="340"/>
                  </a:lnTo>
                  <a:lnTo>
                    <a:pt x="218" y="342"/>
                  </a:lnTo>
                  <a:lnTo>
                    <a:pt x="218" y="336"/>
                  </a:lnTo>
                  <a:lnTo>
                    <a:pt x="218" y="334"/>
                  </a:lnTo>
                  <a:lnTo>
                    <a:pt x="218" y="330"/>
                  </a:lnTo>
                  <a:lnTo>
                    <a:pt x="212" y="330"/>
                  </a:lnTo>
                  <a:lnTo>
                    <a:pt x="212" y="326"/>
                  </a:lnTo>
                  <a:lnTo>
                    <a:pt x="208" y="320"/>
                  </a:lnTo>
                  <a:lnTo>
                    <a:pt x="202" y="320"/>
                  </a:lnTo>
                  <a:lnTo>
                    <a:pt x="202" y="322"/>
                  </a:lnTo>
                  <a:lnTo>
                    <a:pt x="198" y="322"/>
                  </a:lnTo>
                  <a:lnTo>
                    <a:pt x="196" y="328"/>
                  </a:lnTo>
                  <a:lnTo>
                    <a:pt x="188" y="330"/>
                  </a:lnTo>
                  <a:lnTo>
                    <a:pt x="188" y="324"/>
                  </a:lnTo>
                  <a:lnTo>
                    <a:pt x="182" y="322"/>
                  </a:lnTo>
                  <a:lnTo>
                    <a:pt x="180" y="314"/>
                  </a:lnTo>
                  <a:lnTo>
                    <a:pt x="174" y="312"/>
                  </a:lnTo>
                  <a:lnTo>
                    <a:pt x="170" y="306"/>
                  </a:lnTo>
                  <a:lnTo>
                    <a:pt x="172" y="300"/>
                  </a:lnTo>
                  <a:lnTo>
                    <a:pt x="158" y="296"/>
                  </a:lnTo>
                  <a:lnTo>
                    <a:pt x="152" y="292"/>
                  </a:lnTo>
                  <a:lnTo>
                    <a:pt x="146" y="296"/>
                  </a:lnTo>
                  <a:lnTo>
                    <a:pt x="140" y="294"/>
                  </a:lnTo>
                  <a:lnTo>
                    <a:pt x="140" y="288"/>
                  </a:lnTo>
                  <a:lnTo>
                    <a:pt x="140" y="282"/>
                  </a:lnTo>
                  <a:lnTo>
                    <a:pt x="134" y="284"/>
                  </a:lnTo>
                  <a:lnTo>
                    <a:pt x="138" y="276"/>
                  </a:lnTo>
                  <a:lnTo>
                    <a:pt x="126" y="276"/>
                  </a:lnTo>
                  <a:lnTo>
                    <a:pt x="122" y="274"/>
                  </a:lnTo>
                  <a:lnTo>
                    <a:pt x="112" y="268"/>
                  </a:lnTo>
                  <a:lnTo>
                    <a:pt x="108" y="268"/>
                  </a:lnTo>
                  <a:lnTo>
                    <a:pt x="108" y="272"/>
                  </a:lnTo>
                  <a:lnTo>
                    <a:pt x="112" y="280"/>
                  </a:lnTo>
                  <a:lnTo>
                    <a:pt x="104" y="282"/>
                  </a:lnTo>
                  <a:lnTo>
                    <a:pt x="102" y="288"/>
                  </a:lnTo>
                  <a:lnTo>
                    <a:pt x="96" y="286"/>
                  </a:lnTo>
                  <a:lnTo>
                    <a:pt x="90" y="276"/>
                  </a:lnTo>
                  <a:lnTo>
                    <a:pt x="82" y="268"/>
                  </a:lnTo>
                  <a:lnTo>
                    <a:pt x="86" y="264"/>
                  </a:lnTo>
                  <a:lnTo>
                    <a:pt x="88" y="262"/>
                  </a:lnTo>
                  <a:lnTo>
                    <a:pt x="90" y="260"/>
                  </a:lnTo>
                  <a:lnTo>
                    <a:pt x="86" y="254"/>
                  </a:lnTo>
                  <a:lnTo>
                    <a:pt x="82" y="254"/>
                  </a:lnTo>
                  <a:lnTo>
                    <a:pt x="82" y="256"/>
                  </a:lnTo>
                  <a:lnTo>
                    <a:pt x="74" y="258"/>
                  </a:lnTo>
                  <a:lnTo>
                    <a:pt x="74" y="254"/>
                  </a:lnTo>
                  <a:lnTo>
                    <a:pt x="68" y="254"/>
                  </a:lnTo>
                  <a:lnTo>
                    <a:pt x="66" y="248"/>
                  </a:lnTo>
                  <a:lnTo>
                    <a:pt x="56" y="248"/>
                  </a:lnTo>
                  <a:lnTo>
                    <a:pt x="54" y="246"/>
                  </a:lnTo>
                  <a:lnTo>
                    <a:pt x="46" y="242"/>
                  </a:lnTo>
                  <a:lnTo>
                    <a:pt x="46" y="236"/>
                  </a:lnTo>
                  <a:lnTo>
                    <a:pt x="42" y="232"/>
                  </a:lnTo>
                  <a:lnTo>
                    <a:pt x="36" y="234"/>
                  </a:lnTo>
                  <a:lnTo>
                    <a:pt x="34" y="236"/>
                  </a:lnTo>
                  <a:lnTo>
                    <a:pt x="36" y="238"/>
                  </a:lnTo>
                  <a:lnTo>
                    <a:pt x="34" y="242"/>
                  </a:lnTo>
                  <a:lnTo>
                    <a:pt x="28" y="242"/>
                  </a:lnTo>
                  <a:lnTo>
                    <a:pt x="36" y="222"/>
                  </a:lnTo>
                  <a:lnTo>
                    <a:pt x="32" y="208"/>
                  </a:lnTo>
                  <a:lnTo>
                    <a:pt x="22" y="204"/>
                  </a:lnTo>
                  <a:lnTo>
                    <a:pt x="24" y="196"/>
                  </a:lnTo>
                  <a:lnTo>
                    <a:pt x="20" y="190"/>
                  </a:lnTo>
                  <a:lnTo>
                    <a:pt x="20" y="184"/>
                  </a:lnTo>
                  <a:lnTo>
                    <a:pt x="24" y="180"/>
                  </a:lnTo>
                  <a:lnTo>
                    <a:pt x="26" y="172"/>
                  </a:lnTo>
                  <a:lnTo>
                    <a:pt x="22" y="170"/>
                  </a:lnTo>
                  <a:lnTo>
                    <a:pt x="24" y="160"/>
                  </a:lnTo>
                  <a:lnTo>
                    <a:pt x="18" y="156"/>
                  </a:lnTo>
                  <a:lnTo>
                    <a:pt x="16" y="152"/>
                  </a:lnTo>
                  <a:lnTo>
                    <a:pt x="20" y="140"/>
                  </a:lnTo>
                  <a:lnTo>
                    <a:pt x="8" y="128"/>
                  </a:lnTo>
                  <a:lnTo>
                    <a:pt x="2" y="126"/>
                  </a:lnTo>
                  <a:lnTo>
                    <a:pt x="2" y="116"/>
                  </a:lnTo>
                  <a:lnTo>
                    <a:pt x="8" y="112"/>
                  </a:lnTo>
                  <a:lnTo>
                    <a:pt x="12" y="96"/>
                  </a:lnTo>
                  <a:lnTo>
                    <a:pt x="8" y="72"/>
                  </a:lnTo>
                  <a:lnTo>
                    <a:pt x="14" y="74"/>
                  </a:lnTo>
                  <a:lnTo>
                    <a:pt x="18" y="78"/>
                  </a:lnTo>
                  <a:lnTo>
                    <a:pt x="16" y="72"/>
                  </a:lnTo>
                  <a:lnTo>
                    <a:pt x="18" y="68"/>
                  </a:lnTo>
                  <a:lnTo>
                    <a:pt x="18" y="62"/>
                  </a:lnTo>
                  <a:lnTo>
                    <a:pt x="16" y="60"/>
                  </a:lnTo>
                  <a:lnTo>
                    <a:pt x="14" y="56"/>
                  </a:lnTo>
                  <a:lnTo>
                    <a:pt x="14" y="52"/>
                  </a:lnTo>
                  <a:lnTo>
                    <a:pt x="30" y="48"/>
                  </a:lnTo>
                  <a:lnTo>
                    <a:pt x="38" y="48"/>
                  </a:lnTo>
                  <a:lnTo>
                    <a:pt x="46" y="42"/>
                  </a:lnTo>
                  <a:lnTo>
                    <a:pt x="70" y="38"/>
                  </a:lnTo>
                  <a:lnTo>
                    <a:pt x="78" y="34"/>
                  </a:lnTo>
                  <a:lnTo>
                    <a:pt x="92" y="20"/>
                  </a:lnTo>
                  <a:lnTo>
                    <a:pt x="110" y="12"/>
                  </a:lnTo>
                  <a:lnTo>
                    <a:pt x="138" y="2"/>
                  </a:lnTo>
                  <a:lnTo>
                    <a:pt x="160" y="0"/>
                  </a:lnTo>
                  <a:lnTo>
                    <a:pt x="180" y="12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8" y="12"/>
                  </a:lnTo>
                  <a:lnTo>
                    <a:pt x="170" y="26"/>
                  </a:lnTo>
                  <a:lnTo>
                    <a:pt x="176" y="30"/>
                  </a:lnTo>
                  <a:lnTo>
                    <a:pt x="188" y="32"/>
                  </a:lnTo>
                  <a:lnTo>
                    <a:pt x="198" y="28"/>
                  </a:lnTo>
                  <a:lnTo>
                    <a:pt x="216" y="16"/>
                  </a:lnTo>
                  <a:lnTo>
                    <a:pt x="218" y="16"/>
                  </a:lnTo>
                  <a:lnTo>
                    <a:pt x="200" y="30"/>
                  </a:lnTo>
                  <a:lnTo>
                    <a:pt x="198" y="32"/>
                  </a:lnTo>
                  <a:lnTo>
                    <a:pt x="198" y="36"/>
                  </a:lnTo>
                  <a:lnTo>
                    <a:pt x="200" y="36"/>
                  </a:lnTo>
                  <a:lnTo>
                    <a:pt x="206" y="34"/>
                  </a:lnTo>
                  <a:lnTo>
                    <a:pt x="216" y="26"/>
                  </a:lnTo>
                  <a:lnTo>
                    <a:pt x="226" y="20"/>
                  </a:lnTo>
                  <a:lnTo>
                    <a:pt x="240" y="20"/>
                  </a:lnTo>
                  <a:lnTo>
                    <a:pt x="280" y="24"/>
                  </a:lnTo>
                  <a:lnTo>
                    <a:pt x="330" y="20"/>
                  </a:lnTo>
                  <a:lnTo>
                    <a:pt x="342" y="20"/>
                  </a:lnTo>
                  <a:lnTo>
                    <a:pt x="354" y="26"/>
                  </a:lnTo>
                  <a:lnTo>
                    <a:pt x="358" y="42"/>
                  </a:lnTo>
                  <a:lnTo>
                    <a:pt x="360" y="46"/>
                  </a:lnTo>
                  <a:lnTo>
                    <a:pt x="360" y="48"/>
                  </a:lnTo>
                  <a:lnTo>
                    <a:pt x="362" y="52"/>
                  </a:lnTo>
                  <a:lnTo>
                    <a:pt x="366" y="62"/>
                  </a:lnTo>
                  <a:lnTo>
                    <a:pt x="376" y="106"/>
                  </a:lnTo>
                  <a:lnTo>
                    <a:pt x="378" y="120"/>
                  </a:lnTo>
                  <a:lnTo>
                    <a:pt x="378" y="126"/>
                  </a:lnTo>
                  <a:lnTo>
                    <a:pt x="374" y="132"/>
                  </a:lnTo>
                  <a:lnTo>
                    <a:pt x="366" y="134"/>
                  </a:lnTo>
                  <a:lnTo>
                    <a:pt x="356" y="140"/>
                  </a:lnTo>
                  <a:lnTo>
                    <a:pt x="352" y="150"/>
                  </a:lnTo>
                  <a:lnTo>
                    <a:pt x="350" y="158"/>
                  </a:lnTo>
                  <a:lnTo>
                    <a:pt x="354" y="158"/>
                  </a:lnTo>
                  <a:lnTo>
                    <a:pt x="362" y="162"/>
                  </a:lnTo>
                  <a:lnTo>
                    <a:pt x="364" y="168"/>
                  </a:lnTo>
                  <a:lnTo>
                    <a:pt x="368" y="172"/>
                  </a:lnTo>
                  <a:lnTo>
                    <a:pt x="368" y="178"/>
                  </a:lnTo>
                  <a:lnTo>
                    <a:pt x="362" y="200"/>
                  </a:lnTo>
                  <a:lnTo>
                    <a:pt x="364" y="202"/>
                  </a:lnTo>
                  <a:lnTo>
                    <a:pt x="368" y="208"/>
                  </a:lnTo>
                  <a:lnTo>
                    <a:pt x="366" y="214"/>
                  </a:lnTo>
                  <a:lnTo>
                    <a:pt x="380" y="238"/>
                  </a:lnTo>
                  <a:lnTo>
                    <a:pt x="386" y="244"/>
                  </a:lnTo>
                  <a:lnTo>
                    <a:pt x="380" y="244"/>
                  </a:lnTo>
                  <a:lnTo>
                    <a:pt x="380" y="248"/>
                  </a:lnTo>
                  <a:lnTo>
                    <a:pt x="384" y="256"/>
                  </a:lnTo>
                  <a:lnTo>
                    <a:pt x="384" y="264"/>
                  </a:lnTo>
                  <a:lnTo>
                    <a:pt x="380" y="270"/>
                  </a:lnTo>
                  <a:lnTo>
                    <a:pt x="372" y="272"/>
                  </a:lnTo>
                  <a:lnTo>
                    <a:pt x="368" y="276"/>
                  </a:lnTo>
                  <a:lnTo>
                    <a:pt x="358" y="288"/>
                  </a:lnTo>
                  <a:lnTo>
                    <a:pt x="332" y="320"/>
                  </a:lnTo>
                  <a:lnTo>
                    <a:pt x="330" y="328"/>
                  </a:lnTo>
                  <a:lnTo>
                    <a:pt x="332" y="342"/>
                  </a:lnTo>
                  <a:lnTo>
                    <a:pt x="336" y="352"/>
                  </a:lnTo>
                  <a:lnTo>
                    <a:pt x="326" y="352"/>
                  </a:lnTo>
                  <a:close/>
                  <a:moveTo>
                    <a:pt x="14" y="56"/>
                  </a:moveTo>
                  <a:lnTo>
                    <a:pt x="14" y="60"/>
                  </a:lnTo>
                  <a:lnTo>
                    <a:pt x="10" y="58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4" y="56"/>
                  </a:lnTo>
                  <a:close/>
                  <a:moveTo>
                    <a:pt x="0" y="52"/>
                  </a:moveTo>
                  <a:lnTo>
                    <a:pt x="4" y="54"/>
                  </a:lnTo>
                  <a:lnTo>
                    <a:pt x="4" y="60"/>
                  </a:lnTo>
                  <a:lnTo>
                    <a:pt x="2" y="58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4">
              <a:extLst>
                <a:ext uri="{FF2B5EF4-FFF2-40B4-BE49-F238E27FC236}">
                  <a16:creationId xmlns:a16="http://schemas.microsoft.com/office/drawing/2014/main" id="{A87DDC8C-CC14-4EB3-B63C-4BC28C5446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67400" y="3946525"/>
              <a:ext cx="604837" cy="490537"/>
            </a:xfrm>
            <a:custGeom>
              <a:avLst/>
              <a:gdLst>
                <a:gd name="T0" fmla="*/ 100 w 364"/>
                <a:gd name="T1" fmla="*/ 383 h 316"/>
                <a:gd name="T2" fmla="*/ 172 w 364"/>
                <a:gd name="T3" fmla="*/ 392 h 316"/>
                <a:gd name="T4" fmla="*/ 242 w 364"/>
                <a:gd name="T5" fmla="*/ 364 h 316"/>
                <a:gd name="T6" fmla="*/ 291 w 364"/>
                <a:gd name="T7" fmla="*/ 340 h 316"/>
                <a:gd name="T8" fmla="*/ 341 w 364"/>
                <a:gd name="T9" fmla="*/ 327 h 316"/>
                <a:gd name="T10" fmla="*/ 382 w 364"/>
                <a:gd name="T11" fmla="*/ 335 h 316"/>
                <a:gd name="T12" fmla="*/ 363 w 364"/>
                <a:gd name="T13" fmla="*/ 299 h 316"/>
                <a:gd name="T14" fmla="*/ 378 w 364"/>
                <a:gd name="T15" fmla="*/ 238 h 316"/>
                <a:gd name="T16" fmla="*/ 448 w 364"/>
                <a:gd name="T17" fmla="*/ 200 h 316"/>
                <a:gd name="T18" fmla="*/ 493 w 364"/>
                <a:gd name="T19" fmla="*/ 177 h 316"/>
                <a:gd name="T20" fmla="*/ 525 w 364"/>
                <a:gd name="T21" fmla="*/ 153 h 316"/>
                <a:gd name="T22" fmla="*/ 493 w 364"/>
                <a:gd name="T23" fmla="*/ 130 h 316"/>
                <a:gd name="T24" fmla="*/ 517 w 364"/>
                <a:gd name="T25" fmla="*/ 77 h 316"/>
                <a:gd name="T26" fmla="*/ 564 w 364"/>
                <a:gd name="T27" fmla="*/ 56 h 316"/>
                <a:gd name="T28" fmla="*/ 659 w 364"/>
                <a:gd name="T29" fmla="*/ 63 h 316"/>
                <a:gd name="T30" fmla="*/ 697 w 364"/>
                <a:gd name="T31" fmla="*/ 15 h 316"/>
                <a:gd name="T32" fmla="*/ 767 w 364"/>
                <a:gd name="T33" fmla="*/ 15 h 316"/>
                <a:gd name="T34" fmla="*/ 829 w 364"/>
                <a:gd name="T35" fmla="*/ 35 h 316"/>
                <a:gd name="T36" fmla="*/ 924 w 364"/>
                <a:gd name="T37" fmla="*/ 30 h 316"/>
                <a:gd name="T38" fmla="*/ 924 w 364"/>
                <a:gd name="T39" fmla="*/ 66 h 316"/>
                <a:gd name="T40" fmla="*/ 996 w 364"/>
                <a:gd name="T41" fmla="*/ 63 h 316"/>
                <a:gd name="T42" fmla="*/ 1048 w 364"/>
                <a:gd name="T43" fmla="*/ 50 h 316"/>
                <a:gd name="T44" fmla="*/ 1136 w 364"/>
                <a:gd name="T45" fmla="*/ 97 h 316"/>
                <a:gd name="T46" fmla="*/ 1149 w 364"/>
                <a:gd name="T47" fmla="*/ 119 h 316"/>
                <a:gd name="T48" fmla="*/ 1168 w 364"/>
                <a:gd name="T49" fmla="*/ 185 h 316"/>
                <a:gd name="T50" fmla="*/ 1146 w 364"/>
                <a:gd name="T51" fmla="*/ 210 h 316"/>
                <a:gd name="T52" fmla="*/ 1176 w 364"/>
                <a:gd name="T53" fmla="*/ 262 h 316"/>
                <a:gd name="T54" fmla="*/ 1184 w 364"/>
                <a:gd name="T55" fmla="*/ 288 h 316"/>
                <a:gd name="T56" fmla="*/ 1261 w 364"/>
                <a:gd name="T57" fmla="*/ 350 h 316"/>
                <a:gd name="T58" fmla="*/ 1284 w 364"/>
                <a:gd name="T59" fmla="*/ 403 h 316"/>
                <a:gd name="T60" fmla="*/ 1394 w 364"/>
                <a:gd name="T61" fmla="*/ 417 h 316"/>
                <a:gd name="T62" fmla="*/ 1409 w 364"/>
                <a:gd name="T63" fmla="*/ 452 h 316"/>
                <a:gd name="T64" fmla="*/ 1394 w 364"/>
                <a:gd name="T65" fmla="*/ 488 h 316"/>
                <a:gd name="T66" fmla="*/ 1276 w 364"/>
                <a:gd name="T67" fmla="*/ 505 h 316"/>
                <a:gd name="T68" fmla="*/ 1214 w 364"/>
                <a:gd name="T69" fmla="*/ 537 h 316"/>
                <a:gd name="T70" fmla="*/ 1254 w 364"/>
                <a:gd name="T71" fmla="*/ 598 h 316"/>
                <a:gd name="T72" fmla="*/ 1261 w 364"/>
                <a:gd name="T73" fmla="*/ 649 h 316"/>
                <a:gd name="T74" fmla="*/ 1254 w 364"/>
                <a:gd name="T75" fmla="*/ 680 h 316"/>
                <a:gd name="T76" fmla="*/ 1160 w 364"/>
                <a:gd name="T77" fmla="*/ 692 h 316"/>
                <a:gd name="T78" fmla="*/ 1099 w 364"/>
                <a:gd name="T79" fmla="*/ 759 h 316"/>
                <a:gd name="T80" fmla="*/ 1090 w 364"/>
                <a:gd name="T81" fmla="*/ 810 h 316"/>
                <a:gd name="T82" fmla="*/ 1028 w 364"/>
                <a:gd name="T83" fmla="*/ 783 h 316"/>
                <a:gd name="T84" fmla="*/ 954 w 364"/>
                <a:gd name="T85" fmla="*/ 783 h 316"/>
                <a:gd name="T86" fmla="*/ 893 w 364"/>
                <a:gd name="T87" fmla="*/ 769 h 316"/>
                <a:gd name="T88" fmla="*/ 839 w 364"/>
                <a:gd name="T89" fmla="*/ 779 h 316"/>
                <a:gd name="T90" fmla="*/ 782 w 364"/>
                <a:gd name="T91" fmla="*/ 769 h 316"/>
                <a:gd name="T92" fmla="*/ 716 w 364"/>
                <a:gd name="T93" fmla="*/ 769 h 316"/>
                <a:gd name="T94" fmla="*/ 673 w 364"/>
                <a:gd name="T95" fmla="*/ 779 h 316"/>
                <a:gd name="T96" fmla="*/ 611 w 364"/>
                <a:gd name="T97" fmla="*/ 752 h 316"/>
                <a:gd name="T98" fmla="*/ 525 w 364"/>
                <a:gd name="T99" fmla="*/ 733 h 316"/>
                <a:gd name="T100" fmla="*/ 416 w 364"/>
                <a:gd name="T101" fmla="*/ 712 h 316"/>
                <a:gd name="T102" fmla="*/ 265 w 364"/>
                <a:gd name="T103" fmla="*/ 712 h 316"/>
                <a:gd name="T104" fmla="*/ 166 w 364"/>
                <a:gd name="T105" fmla="*/ 741 h 316"/>
                <a:gd name="T106" fmla="*/ 62 w 364"/>
                <a:gd name="T107" fmla="*/ 759 h 316"/>
                <a:gd name="T108" fmla="*/ 70 w 364"/>
                <a:gd name="T109" fmla="*/ 692 h 316"/>
                <a:gd name="T110" fmla="*/ 10 w 364"/>
                <a:gd name="T111" fmla="*/ 633 h 316"/>
                <a:gd name="T112" fmla="*/ 109 w 364"/>
                <a:gd name="T113" fmla="*/ 556 h 31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4"/>
                <a:gd name="T172" fmla="*/ 0 h 316"/>
                <a:gd name="T173" fmla="*/ 364 w 364"/>
                <a:gd name="T174" fmla="*/ 316 h 31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4" h="316">
                  <a:moveTo>
                    <a:pt x="12" y="148"/>
                  </a:moveTo>
                  <a:lnTo>
                    <a:pt x="14" y="150"/>
                  </a:lnTo>
                  <a:lnTo>
                    <a:pt x="16" y="148"/>
                  </a:lnTo>
                  <a:lnTo>
                    <a:pt x="22" y="150"/>
                  </a:lnTo>
                  <a:lnTo>
                    <a:pt x="26" y="148"/>
                  </a:lnTo>
                  <a:lnTo>
                    <a:pt x="32" y="148"/>
                  </a:lnTo>
                  <a:lnTo>
                    <a:pt x="36" y="146"/>
                  </a:lnTo>
                  <a:lnTo>
                    <a:pt x="38" y="148"/>
                  </a:lnTo>
                  <a:lnTo>
                    <a:pt x="40" y="152"/>
                  </a:lnTo>
                  <a:lnTo>
                    <a:pt x="44" y="152"/>
                  </a:lnTo>
                  <a:lnTo>
                    <a:pt x="52" y="146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60" y="146"/>
                  </a:lnTo>
                  <a:lnTo>
                    <a:pt x="62" y="142"/>
                  </a:lnTo>
                  <a:lnTo>
                    <a:pt x="60" y="136"/>
                  </a:lnTo>
                  <a:lnTo>
                    <a:pt x="64" y="134"/>
                  </a:lnTo>
                  <a:lnTo>
                    <a:pt x="68" y="134"/>
                  </a:lnTo>
                  <a:lnTo>
                    <a:pt x="70" y="134"/>
                  </a:lnTo>
                  <a:lnTo>
                    <a:pt x="74" y="132"/>
                  </a:lnTo>
                  <a:lnTo>
                    <a:pt x="76" y="128"/>
                  </a:lnTo>
                  <a:lnTo>
                    <a:pt x="82" y="128"/>
                  </a:lnTo>
                  <a:lnTo>
                    <a:pt x="82" y="126"/>
                  </a:lnTo>
                  <a:lnTo>
                    <a:pt x="86" y="124"/>
                  </a:lnTo>
                  <a:lnTo>
                    <a:pt x="88" y="126"/>
                  </a:lnTo>
                  <a:lnTo>
                    <a:pt x="88" y="128"/>
                  </a:lnTo>
                  <a:lnTo>
                    <a:pt x="88" y="134"/>
                  </a:lnTo>
                  <a:lnTo>
                    <a:pt x="92" y="134"/>
                  </a:lnTo>
                  <a:lnTo>
                    <a:pt x="96" y="134"/>
                  </a:lnTo>
                  <a:lnTo>
                    <a:pt x="98" y="130"/>
                  </a:lnTo>
                  <a:lnTo>
                    <a:pt x="96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90" y="118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6" y="106"/>
                  </a:lnTo>
                  <a:lnTo>
                    <a:pt x="96" y="102"/>
                  </a:lnTo>
                  <a:lnTo>
                    <a:pt x="94" y="98"/>
                  </a:lnTo>
                  <a:lnTo>
                    <a:pt x="96" y="92"/>
                  </a:lnTo>
                  <a:lnTo>
                    <a:pt x="98" y="88"/>
                  </a:lnTo>
                  <a:lnTo>
                    <a:pt x="100" y="84"/>
                  </a:lnTo>
                  <a:lnTo>
                    <a:pt x="102" y="80"/>
                  </a:lnTo>
                  <a:lnTo>
                    <a:pt x="108" y="80"/>
                  </a:lnTo>
                  <a:lnTo>
                    <a:pt x="114" y="78"/>
                  </a:lnTo>
                  <a:lnTo>
                    <a:pt x="116" y="74"/>
                  </a:lnTo>
                  <a:lnTo>
                    <a:pt x="116" y="68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6" y="68"/>
                  </a:lnTo>
                  <a:lnTo>
                    <a:pt x="128" y="70"/>
                  </a:lnTo>
                  <a:lnTo>
                    <a:pt x="130" y="70"/>
                  </a:lnTo>
                  <a:lnTo>
                    <a:pt x="130" y="64"/>
                  </a:lnTo>
                  <a:lnTo>
                    <a:pt x="132" y="60"/>
                  </a:lnTo>
                  <a:lnTo>
                    <a:pt x="134" y="60"/>
                  </a:lnTo>
                  <a:lnTo>
                    <a:pt x="136" y="58"/>
                  </a:lnTo>
                  <a:lnTo>
                    <a:pt x="134" y="56"/>
                  </a:lnTo>
                  <a:lnTo>
                    <a:pt x="130" y="56"/>
                  </a:lnTo>
                  <a:lnTo>
                    <a:pt x="124" y="54"/>
                  </a:lnTo>
                  <a:lnTo>
                    <a:pt x="126" y="50"/>
                  </a:lnTo>
                  <a:lnTo>
                    <a:pt x="128" y="46"/>
                  </a:lnTo>
                  <a:lnTo>
                    <a:pt x="128" y="42"/>
                  </a:lnTo>
                  <a:lnTo>
                    <a:pt x="130" y="38"/>
                  </a:lnTo>
                  <a:lnTo>
                    <a:pt x="130" y="32"/>
                  </a:lnTo>
                  <a:lnTo>
                    <a:pt x="132" y="30"/>
                  </a:lnTo>
                  <a:lnTo>
                    <a:pt x="134" y="32"/>
                  </a:lnTo>
                  <a:lnTo>
                    <a:pt x="136" y="32"/>
                  </a:lnTo>
                  <a:lnTo>
                    <a:pt x="140" y="28"/>
                  </a:lnTo>
                  <a:lnTo>
                    <a:pt x="142" y="24"/>
                  </a:lnTo>
                  <a:lnTo>
                    <a:pt x="144" y="22"/>
                  </a:lnTo>
                  <a:lnTo>
                    <a:pt x="150" y="22"/>
                  </a:lnTo>
                  <a:lnTo>
                    <a:pt x="156" y="24"/>
                  </a:lnTo>
                  <a:lnTo>
                    <a:pt x="160" y="24"/>
                  </a:lnTo>
                  <a:lnTo>
                    <a:pt x="164" y="26"/>
                  </a:lnTo>
                  <a:lnTo>
                    <a:pt x="168" y="24"/>
                  </a:lnTo>
                  <a:lnTo>
                    <a:pt x="170" y="18"/>
                  </a:lnTo>
                  <a:lnTo>
                    <a:pt x="170" y="14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78" y="6"/>
                  </a:lnTo>
                  <a:lnTo>
                    <a:pt x="180" y="2"/>
                  </a:lnTo>
                  <a:lnTo>
                    <a:pt x="186" y="2"/>
                  </a:lnTo>
                  <a:lnTo>
                    <a:pt x="190" y="0"/>
                  </a:lnTo>
                  <a:lnTo>
                    <a:pt x="192" y="4"/>
                  </a:lnTo>
                  <a:lnTo>
                    <a:pt x="196" y="6"/>
                  </a:lnTo>
                  <a:lnTo>
                    <a:pt x="200" y="2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8"/>
                  </a:lnTo>
                  <a:lnTo>
                    <a:pt x="212" y="14"/>
                  </a:lnTo>
                  <a:lnTo>
                    <a:pt x="214" y="12"/>
                  </a:lnTo>
                  <a:lnTo>
                    <a:pt x="218" y="10"/>
                  </a:lnTo>
                  <a:lnTo>
                    <a:pt x="226" y="8"/>
                  </a:lnTo>
                  <a:lnTo>
                    <a:pt x="230" y="10"/>
                  </a:lnTo>
                  <a:lnTo>
                    <a:pt x="236" y="12"/>
                  </a:lnTo>
                  <a:lnTo>
                    <a:pt x="238" y="12"/>
                  </a:lnTo>
                  <a:lnTo>
                    <a:pt x="238" y="16"/>
                  </a:lnTo>
                  <a:lnTo>
                    <a:pt x="236" y="18"/>
                  </a:lnTo>
                  <a:lnTo>
                    <a:pt x="236" y="22"/>
                  </a:lnTo>
                  <a:lnTo>
                    <a:pt x="236" y="26"/>
                  </a:lnTo>
                  <a:lnTo>
                    <a:pt x="238" y="32"/>
                  </a:lnTo>
                  <a:lnTo>
                    <a:pt x="242" y="32"/>
                  </a:lnTo>
                  <a:lnTo>
                    <a:pt x="246" y="26"/>
                  </a:lnTo>
                  <a:lnTo>
                    <a:pt x="250" y="24"/>
                  </a:lnTo>
                  <a:lnTo>
                    <a:pt x="254" y="24"/>
                  </a:lnTo>
                  <a:lnTo>
                    <a:pt x="256" y="22"/>
                  </a:lnTo>
                  <a:lnTo>
                    <a:pt x="260" y="18"/>
                  </a:lnTo>
                  <a:lnTo>
                    <a:pt x="262" y="20"/>
                  </a:lnTo>
                  <a:lnTo>
                    <a:pt x="264" y="22"/>
                  </a:lnTo>
                  <a:lnTo>
                    <a:pt x="268" y="20"/>
                  </a:lnTo>
                  <a:lnTo>
                    <a:pt x="278" y="24"/>
                  </a:lnTo>
                  <a:lnTo>
                    <a:pt x="280" y="28"/>
                  </a:lnTo>
                  <a:lnTo>
                    <a:pt x="286" y="32"/>
                  </a:lnTo>
                  <a:lnTo>
                    <a:pt x="286" y="34"/>
                  </a:lnTo>
                  <a:lnTo>
                    <a:pt x="290" y="38"/>
                  </a:lnTo>
                  <a:lnTo>
                    <a:pt x="292" y="38"/>
                  </a:lnTo>
                  <a:lnTo>
                    <a:pt x="294" y="38"/>
                  </a:lnTo>
                  <a:lnTo>
                    <a:pt x="296" y="40"/>
                  </a:lnTo>
                  <a:lnTo>
                    <a:pt x="294" y="44"/>
                  </a:lnTo>
                  <a:lnTo>
                    <a:pt x="294" y="46"/>
                  </a:lnTo>
                  <a:lnTo>
                    <a:pt x="294" y="52"/>
                  </a:lnTo>
                  <a:lnTo>
                    <a:pt x="292" y="56"/>
                  </a:lnTo>
                  <a:lnTo>
                    <a:pt x="294" y="64"/>
                  </a:lnTo>
                  <a:lnTo>
                    <a:pt x="298" y="68"/>
                  </a:lnTo>
                  <a:lnTo>
                    <a:pt x="298" y="72"/>
                  </a:lnTo>
                  <a:lnTo>
                    <a:pt x="298" y="76"/>
                  </a:lnTo>
                  <a:lnTo>
                    <a:pt x="296" y="76"/>
                  </a:lnTo>
                  <a:lnTo>
                    <a:pt x="296" y="78"/>
                  </a:lnTo>
                  <a:lnTo>
                    <a:pt x="294" y="82"/>
                  </a:lnTo>
                  <a:lnTo>
                    <a:pt x="292" y="82"/>
                  </a:lnTo>
                  <a:lnTo>
                    <a:pt x="290" y="88"/>
                  </a:lnTo>
                  <a:lnTo>
                    <a:pt x="290" y="92"/>
                  </a:lnTo>
                  <a:lnTo>
                    <a:pt x="296" y="94"/>
                  </a:lnTo>
                  <a:lnTo>
                    <a:pt x="298" y="98"/>
                  </a:lnTo>
                  <a:lnTo>
                    <a:pt x="300" y="102"/>
                  </a:lnTo>
                  <a:lnTo>
                    <a:pt x="302" y="100"/>
                  </a:lnTo>
                  <a:lnTo>
                    <a:pt x="306" y="102"/>
                  </a:lnTo>
                  <a:lnTo>
                    <a:pt x="304" y="106"/>
                  </a:lnTo>
                  <a:lnTo>
                    <a:pt x="302" y="110"/>
                  </a:lnTo>
                  <a:lnTo>
                    <a:pt x="302" y="112"/>
                  </a:lnTo>
                  <a:lnTo>
                    <a:pt x="306" y="112"/>
                  </a:lnTo>
                  <a:lnTo>
                    <a:pt x="310" y="120"/>
                  </a:lnTo>
                  <a:lnTo>
                    <a:pt x="312" y="128"/>
                  </a:lnTo>
                  <a:lnTo>
                    <a:pt x="318" y="134"/>
                  </a:lnTo>
                  <a:lnTo>
                    <a:pt x="322" y="136"/>
                  </a:lnTo>
                  <a:lnTo>
                    <a:pt x="328" y="138"/>
                  </a:lnTo>
                  <a:lnTo>
                    <a:pt x="330" y="140"/>
                  </a:lnTo>
                  <a:lnTo>
                    <a:pt x="332" y="146"/>
                  </a:lnTo>
                  <a:lnTo>
                    <a:pt x="330" y="150"/>
                  </a:lnTo>
                  <a:lnTo>
                    <a:pt x="328" y="156"/>
                  </a:lnTo>
                  <a:lnTo>
                    <a:pt x="332" y="158"/>
                  </a:lnTo>
                  <a:lnTo>
                    <a:pt x="338" y="156"/>
                  </a:lnTo>
                  <a:lnTo>
                    <a:pt x="344" y="158"/>
                  </a:lnTo>
                  <a:lnTo>
                    <a:pt x="350" y="160"/>
                  </a:lnTo>
                  <a:lnTo>
                    <a:pt x="356" y="162"/>
                  </a:lnTo>
                  <a:lnTo>
                    <a:pt x="354" y="164"/>
                  </a:lnTo>
                  <a:lnTo>
                    <a:pt x="354" y="166"/>
                  </a:lnTo>
                  <a:lnTo>
                    <a:pt x="352" y="166"/>
                  </a:lnTo>
                  <a:lnTo>
                    <a:pt x="354" y="172"/>
                  </a:lnTo>
                  <a:lnTo>
                    <a:pt x="360" y="176"/>
                  </a:lnTo>
                  <a:lnTo>
                    <a:pt x="364" y="178"/>
                  </a:lnTo>
                  <a:lnTo>
                    <a:pt x="364" y="182"/>
                  </a:lnTo>
                  <a:lnTo>
                    <a:pt x="364" y="186"/>
                  </a:lnTo>
                  <a:lnTo>
                    <a:pt x="358" y="186"/>
                  </a:lnTo>
                  <a:lnTo>
                    <a:pt x="356" y="190"/>
                  </a:lnTo>
                  <a:lnTo>
                    <a:pt x="354" y="192"/>
                  </a:lnTo>
                  <a:lnTo>
                    <a:pt x="348" y="198"/>
                  </a:lnTo>
                  <a:lnTo>
                    <a:pt x="338" y="200"/>
                  </a:lnTo>
                  <a:lnTo>
                    <a:pt x="330" y="200"/>
                  </a:lnTo>
                  <a:lnTo>
                    <a:pt x="326" y="196"/>
                  </a:lnTo>
                  <a:lnTo>
                    <a:pt x="320" y="194"/>
                  </a:lnTo>
                  <a:lnTo>
                    <a:pt x="314" y="196"/>
                  </a:lnTo>
                  <a:lnTo>
                    <a:pt x="312" y="200"/>
                  </a:lnTo>
                  <a:lnTo>
                    <a:pt x="310" y="204"/>
                  </a:lnTo>
                  <a:lnTo>
                    <a:pt x="310" y="208"/>
                  </a:lnTo>
                  <a:lnTo>
                    <a:pt x="314" y="216"/>
                  </a:lnTo>
                  <a:lnTo>
                    <a:pt x="320" y="222"/>
                  </a:lnTo>
                  <a:lnTo>
                    <a:pt x="320" y="226"/>
                  </a:lnTo>
                  <a:lnTo>
                    <a:pt x="318" y="228"/>
                  </a:lnTo>
                  <a:lnTo>
                    <a:pt x="320" y="232"/>
                  </a:lnTo>
                  <a:lnTo>
                    <a:pt x="322" y="236"/>
                  </a:lnTo>
                  <a:lnTo>
                    <a:pt x="320" y="238"/>
                  </a:lnTo>
                  <a:lnTo>
                    <a:pt x="322" y="244"/>
                  </a:lnTo>
                  <a:lnTo>
                    <a:pt x="322" y="250"/>
                  </a:lnTo>
                  <a:lnTo>
                    <a:pt x="322" y="252"/>
                  </a:lnTo>
                  <a:lnTo>
                    <a:pt x="324" y="256"/>
                  </a:lnTo>
                  <a:lnTo>
                    <a:pt x="326" y="258"/>
                  </a:lnTo>
                  <a:lnTo>
                    <a:pt x="328" y="260"/>
                  </a:lnTo>
                  <a:lnTo>
                    <a:pt x="328" y="264"/>
                  </a:lnTo>
                  <a:lnTo>
                    <a:pt x="320" y="264"/>
                  </a:lnTo>
                  <a:lnTo>
                    <a:pt x="310" y="266"/>
                  </a:lnTo>
                  <a:lnTo>
                    <a:pt x="308" y="268"/>
                  </a:lnTo>
                  <a:lnTo>
                    <a:pt x="304" y="268"/>
                  </a:lnTo>
                  <a:lnTo>
                    <a:pt x="302" y="266"/>
                  </a:lnTo>
                  <a:lnTo>
                    <a:pt x="296" y="268"/>
                  </a:lnTo>
                  <a:lnTo>
                    <a:pt x="296" y="272"/>
                  </a:lnTo>
                  <a:lnTo>
                    <a:pt x="294" y="276"/>
                  </a:lnTo>
                  <a:lnTo>
                    <a:pt x="288" y="280"/>
                  </a:lnTo>
                  <a:lnTo>
                    <a:pt x="284" y="288"/>
                  </a:lnTo>
                  <a:lnTo>
                    <a:pt x="280" y="294"/>
                  </a:lnTo>
                  <a:lnTo>
                    <a:pt x="278" y="300"/>
                  </a:lnTo>
                  <a:lnTo>
                    <a:pt x="284" y="306"/>
                  </a:lnTo>
                  <a:lnTo>
                    <a:pt x="284" y="310"/>
                  </a:lnTo>
                  <a:lnTo>
                    <a:pt x="282" y="316"/>
                  </a:lnTo>
                  <a:lnTo>
                    <a:pt x="278" y="314"/>
                  </a:lnTo>
                  <a:lnTo>
                    <a:pt x="274" y="314"/>
                  </a:lnTo>
                  <a:lnTo>
                    <a:pt x="272" y="308"/>
                  </a:lnTo>
                  <a:lnTo>
                    <a:pt x="270" y="306"/>
                  </a:lnTo>
                  <a:lnTo>
                    <a:pt x="266" y="304"/>
                  </a:lnTo>
                  <a:lnTo>
                    <a:pt x="262" y="304"/>
                  </a:lnTo>
                  <a:lnTo>
                    <a:pt x="260" y="304"/>
                  </a:lnTo>
                  <a:lnTo>
                    <a:pt x="254" y="306"/>
                  </a:lnTo>
                  <a:lnTo>
                    <a:pt x="250" y="306"/>
                  </a:lnTo>
                  <a:lnTo>
                    <a:pt x="248" y="304"/>
                  </a:lnTo>
                  <a:lnTo>
                    <a:pt x="244" y="304"/>
                  </a:lnTo>
                  <a:lnTo>
                    <a:pt x="240" y="308"/>
                  </a:lnTo>
                  <a:lnTo>
                    <a:pt x="234" y="310"/>
                  </a:lnTo>
                  <a:lnTo>
                    <a:pt x="232" y="308"/>
                  </a:lnTo>
                  <a:lnTo>
                    <a:pt x="230" y="302"/>
                  </a:lnTo>
                  <a:lnTo>
                    <a:pt x="228" y="298"/>
                  </a:lnTo>
                  <a:lnTo>
                    <a:pt x="226" y="294"/>
                  </a:lnTo>
                  <a:lnTo>
                    <a:pt x="224" y="296"/>
                  </a:lnTo>
                  <a:lnTo>
                    <a:pt x="222" y="298"/>
                  </a:lnTo>
                  <a:lnTo>
                    <a:pt x="218" y="298"/>
                  </a:lnTo>
                  <a:lnTo>
                    <a:pt x="214" y="302"/>
                  </a:lnTo>
                  <a:lnTo>
                    <a:pt x="212" y="306"/>
                  </a:lnTo>
                  <a:lnTo>
                    <a:pt x="208" y="306"/>
                  </a:lnTo>
                  <a:lnTo>
                    <a:pt x="206" y="300"/>
                  </a:lnTo>
                  <a:lnTo>
                    <a:pt x="204" y="298"/>
                  </a:lnTo>
                  <a:lnTo>
                    <a:pt x="200" y="298"/>
                  </a:lnTo>
                  <a:lnTo>
                    <a:pt x="196" y="302"/>
                  </a:lnTo>
                  <a:lnTo>
                    <a:pt x="194" y="296"/>
                  </a:lnTo>
                  <a:lnTo>
                    <a:pt x="190" y="294"/>
                  </a:lnTo>
                  <a:lnTo>
                    <a:pt x="188" y="298"/>
                  </a:lnTo>
                  <a:lnTo>
                    <a:pt x="182" y="298"/>
                  </a:lnTo>
                  <a:lnTo>
                    <a:pt x="178" y="296"/>
                  </a:lnTo>
                  <a:lnTo>
                    <a:pt x="176" y="296"/>
                  </a:lnTo>
                  <a:lnTo>
                    <a:pt x="176" y="302"/>
                  </a:lnTo>
                  <a:lnTo>
                    <a:pt x="172" y="304"/>
                  </a:lnTo>
                  <a:lnTo>
                    <a:pt x="172" y="302"/>
                  </a:lnTo>
                  <a:lnTo>
                    <a:pt x="172" y="296"/>
                  </a:lnTo>
                  <a:lnTo>
                    <a:pt x="168" y="294"/>
                  </a:lnTo>
                  <a:lnTo>
                    <a:pt x="164" y="294"/>
                  </a:lnTo>
                  <a:lnTo>
                    <a:pt x="156" y="296"/>
                  </a:lnTo>
                  <a:lnTo>
                    <a:pt x="156" y="292"/>
                  </a:lnTo>
                  <a:lnTo>
                    <a:pt x="152" y="292"/>
                  </a:lnTo>
                  <a:lnTo>
                    <a:pt x="152" y="286"/>
                  </a:lnTo>
                  <a:lnTo>
                    <a:pt x="148" y="286"/>
                  </a:lnTo>
                  <a:lnTo>
                    <a:pt x="144" y="288"/>
                  </a:lnTo>
                  <a:lnTo>
                    <a:pt x="134" y="284"/>
                  </a:lnTo>
                  <a:lnTo>
                    <a:pt x="124" y="282"/>
                  </a:lnTo>
                  <a:lnTo>
                    <a:pt x="124" y="280"/>
                  </a:lnTo>
                  <a:lnTo>
                    <a:pt x="114" y="280"/>
                  </a:lnTo>
                  <a:lnTo>
                    <a:pt x="110" y="276"/>
                  </a:lnTo>
                  <a:lnTo>
                    <a:pt x="106" y="276"/>
                  </a:lnTo>
                  <a:lnTo>
                    <a:pt x="96" y="274"/>
                  </a:lnTo>
                  <a:lnTo>
                    <a:pt x="88" y="276"/>
                  </a:lnTo>
                  <a:lnTo>
                    <a:pt x="80" y="276"/>
                  </a:lnTo>
                  <a:lnTo>
                    <a:pt x="74" y="274"/>
                  </a:lnTo>
                  <a:lnTo>
                    <a:pt x="68" y="276"/>
                  </a:lnTo>
                  <a:lnTo>
                    <a:pt x="62" y="278"/>
                  </a:lnTo>
                  <a:lnTo>
                    <a:pt x="54" y="276"/>
                  </a:lnTo>
                  <a:lnTo>
                    <a:pt x="46" y="278"/>
                  </a:lnTo>
                  <a:lnTo>
                    <a:pt x="42" y="282"/>
                  </a:lnTo>
                  <a:lnTo>
                    <a:pt x="42" y="288"/>
                  </a:lnTo>
                  <a:lnTo>
                    <a:pt x="34" y="292"/>
                  </a:lnTo>
                  <a:lnTo>
                    <a:pt x="28" y="298"/>
                  </a:lnTo>
                  <a:lnTo>
                    <a:pt x="26" y="294"/>
                  </a:lnTo>
                  <a:lnTo>
                    <a:pt x="22" y="294"/>
                  </a:lnTo>
                  <a:lnTo>
                    <a:pt x="16" y="294"/>
                  </a:lnTo>
                  <a:lnTo>
                    <a:pt x="14" y="298"/>
                  </a:lnTo>
                  <a:lnTo>
                    <a:pt x="12" y="296"/>
                  </a:lnTo>
                  <a:lnTo>
                    <a:pt x="18" y="274"/>
                  </a:lnTo>
                  <a:lnTo>
                    <a:pt x="18" y="268"/>
                  </a:lnTo>
                  <a:lnTo>
                    <a:pt x="14" y="264"/>
                  </a:lnTo>
                  <a:lnTo>
                    <a:pt x="12" y="258"/>
                  </a:lnTo>
                  <a:lnTo>
                    <a:pt x="4" y="254"/>
                  </a:lnTo>
                  <a:lnTo>
                    <a:pt x="0" y="254"/>
                  </a:lnTo>
                  <a:lnTo>
                    <a:pt x="2" y="246"/>
                  </a:lnTo>
                  <a:lnTo>
                    <a:pt x="6" y="236"/>
                  </a:lnTo>
                  <a:lnTo>
                    <a:pt x="16" y="230"/>
                  </a:lnTo>
                  <a:lnTo>
                    <a:pt x="24" y="228"/>
                  </a:lnTo>
                  <a:lnTo>
                    <a:pt x="28" y="222"/>
                  </a:lnTo>
                  <a:lnTo>
                    <a:pt x="28" y="216"/>
                  </a:lnTo>
                  <a:lnTo>
                    <a:pt x="26" y="202"/>
                  </a:lnTo>
                  <a:lnTo>
                    <a:pt x="16" y="158"/>
                  </a:lnTo>
                  <a:lnTo>
                    <a:pt x="12" y="14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5">
              <a:extLst>
                <a:ext uri="{FF2B5EF4-FFF2-40B4-BE49-F238E27FC236}">
                  <a16:creationId xmlns:a16="http://schemas.microsoft.com/office/drawing/2014/main" id="{351EDDD2-E3A1-4014-A607-D4EAE1A0A311}"/>
                </a:ext>
              </a:extLst>
            </p:cNvPr>
            <p:cNvSpPr>
              <a:spLocks/>
            </p:cNvSpPr>
            <p:nvPr/>
          </p:nvSpPr>
          <p:spPr bwMode="gray">
            <a:xfrm>
              <a:off x="4772025" y="4756150"/>
              <a:ext cx="280987" cy="168275"/>
            </a:xfrm>
            <a:custGeom>
              <a:avLst/>
              <a:gdLst>
                <a:gd name="T0" fmla="*/ 535 w 170"/>
                <a:gd name="T1" fmla="*/ 58 h 108"/>
                <a:gd name="T2" fmla="*/ 535 w 170"/>
                <a:gd name="T3" fmla="*/ 94 h 108"/>
                <a:gd name="T4" fmla="*/ 573 w 170"/>
                <a:gd name="T5" fmla="*/ 111 h 108"/>
                <a:gd name="T6" fmla="*/ 613 w 170"/>
                <a:gd name="T7" fmla="*/ 139 h 108"/>
                <a:gd name="T8" fmla="*/ 659 w 170"/>
                <a:gd name="T9" fmla="*/ 121 h 108"/>
                <a:gd name="T10" fmla="*/ 648 w 170"/>
                <a:gd name="T11" fmla="*/ 154 h 108"/>
                <a:gd name="T12" fmla="*/ 659 w 170"/>
                <a:gd name="T13" fmla="*/ 183 h 108"/>
                <a:gd name="T14" fmla="*/ 625 w 170"/>
                <a:gd name="T15" fmla="*/ 167 h 108"/>
                <a:gd name="T16" fmla="*/ 596 w 170"/>
                <a:gd name="T17" fmla="*/ 192 h 108"/>
                <a:gd name="T18" fmla="*/ 596 w 170"/>
                <a:gd name="T19" fmla="*/ 228 h 108"/>
                <a:gd name="T20" fmla="*/ 550 w 170"/>
                <a:gd name="T21" fmla="*/ 213 h 108"/>
                <a:gd name="T22" fmla="*/ 535 w 170"/>
                <a:gd name="T23" fmla="*/ 221 h 108"/>
                <a:gd name="T24" fmla="*/ 510 w 170"/>
                <a:gd name="T25" fmla="*/ 183 h 108"/>
                <a:gd name="T26" fmla="*/ 477 w 170"/>
                <a:gd name="T27" fmla="*/ 215 h 108"/>
                <a:gd name="T28" fmla="*/ 457 w 170"/>
                <a:gd name="T29" fmla="*/ 274 h 108"/>
                <a:gd name="T30" fmla="*/ 411 w 170"/>
                <a:gd name="T31" fmla="*/ 266 h 108"/>
                <a:gd name="T32" fmla="*/ 393 w 170"/>
                <a:gd name="T33" fmla="*/ 250 h 108"/>
                <a:gd name="T34" fmla="*/ 355 w 170"/>
                <a:gd name="T35" fmla="*/ 195 h 108"/>
                <a:gd name="T36" fmla="*/ 309 w 170"/>
                <a:gd name="T37" fmla="*/ 239 h 108"/>
                <a:gd name="T38" fmla="*/ 272 w 170"/>
                <a:gd name="T39" fmla="*/ 274 h 108"/>
                <a:gd name="T40" fmla="*/ 185 w 170"/>
                <a:gd name="T41" fmla="*/ 281 h 108"/>
                <a:gd name="T42" fmla="*/ 138 w 170"/>
                <a:gd name="T43" fmla="*/ 250 h 108"/>
                <a:gd name="T44" fmla="*/ 76 w 170"/>
                <a:gd name="T45" fmla="*/ 201 h 108"/>
                <a:gd name="T46" fmla="*/ 0 w 170"/>
                <a:gd name="T47" fmla="*/ 239 h 108"/>
                <a:gd name="T48" fmla="*/ 16 w 170"/>
                <a:gd name="T49" fmla="*/ 206 h 108"/>
                <a:gd name="T50" fmla="*/ 16 w 170"/>
                <a:gd name="T51" fmla="*/ 175 h 108"/>
                <a:gd name="T52" fmla="*/ 61 w 170"/>
                <a:gd name="T53" fmla="*/ 127 h 108"/>
                <a:gd name="T54" fmla="*/ 100 w 170"/>
                <a:gd name="T55" fmla="*/ 105 h 108"/>
                <a:gd name="T56" fmla="*/ 148 w 170"/>
                <a:gd name="T57" fmla="*/ 68 h 108"/>
                <a:gd name="T58" fmla="*/ 134 w 170"/>
                <a:gd name="T59" fmla="*/ 64 h 108"/>
                <a:gd name="T60" fmla="*/ 169 w 170"/>
                <a:gd name="T61" fmla="*/ 42 h 108"/>
                <a:gd name="T62" fmla="*/ 199 w 170"/>
                <a:gd name="T63" fmla="*/ 47 h 108"/>
                <a:gd name="T64" fmla="*/ 247 w 170"/>
                <a:gd name="T65" fmla="*/ 31 h 108"/>
                <a:gd name="T66" fmla="*/ 289 w 170"/>
                <a:gd name="T67" fmla="*/ 31 h 108"/>
                <a:gd name="T68" fmla="*/ 341 w 170"/>
                <a:gd name="T69" fmla="*/ 26 h 108"/>
                <a:gd name="T70" fmla="*/ 350 w 170"/>
                <a:gd name="T71" fmla="*/ 15 h 108"/>
                <a:gd name="T72" fmla="*/ 402 w 170"/>
                <a:gd name="T73" fmla="*/ 11 h 108"/>
                <a:gd name="T74" fmla="*/ 427 w 170"/>
                <a:gd name="T75" fmla="*/ 15 h 108"/>
                <a:gd name="T76" fmla="*/ 526 w 170"/>
                <a:gd name="T77" fmla="*/ 31 h 10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70"/>
                <a:gd name="T118" fmla="*/ 0 h 108"/>
                <a:gd name="T119" fmla="*/ 170 w 170"/>
                <a:gd name="T120" fmla="*/ 108 h 10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70" h="108">
                  <a:moveTo>
                    <a:pt x="136" y="12"/>
                  </a:moveTo>
                  <a:lnTo>
                    <a:pt x="138" y="22"/>
                  </a:lnTo>
                  <a:lnTo>
                    <a:pt x="134" y="28"/>
                  </a:lnTo>
                  <a:lnTo>
                    <a:pt x="138" y="36"/>
                  </a:lnTo>
                  <a:lnTo>
                    <a:pt x="136" y="40"/>
                  </a:lnTo>
                  <a:lnTo>
                    <a:pt x="148" y="42"/>
                  </a:lnTo>
                  <a:lnTo>
                    <a:pt x="148" y="46"/>
                  </a:lnTo>
                  <a:lnTo>
                    <a:pt x="158" y="52"/>
                  </a:lnTo>
                  <a:lnTo>
                    <a:pt x="168" y="44"/>
                  </a:lnTo>
                  <a:lnTo>
                    <a:pt x="170" y="46"/>
                  </a:lnTo>
                  <a:lnTo>
                    <a:pt x="170" y="52"/>
                  </a:lnTo>
                  <a:lnTo>
                    <a:pt x="168" y="58"/>
                  </a:lnTo>
                  <a:lnTo>
                    <a:pt x="170" y="64"/>
                  </a:lnTo>
                  <a:lnTo>
                    <a:pt x="170" y="70"/>
                  </a:lnTo>
                  <a:lnTo>
                    <a:pt x="164" y="68"/>
                  </a:lnTo>
                  <a:lnTo>
                    <a:pt x="162" y="64"/>
                  </a:lnTo>
                  <a:lnTo>
                    <a:pt x="156" y="66"/>
                  </a:lnTo>
                  <a:lnTo>
                    <a:pt x="154" y="72"/>
                  </a:lnTo>
                  <a:lnTo>
                    <a:pt x="158" y="76"/>
                  </a:lnTo>
                  <a:lnTo>
                    <a:pt x="154" y="86"/>
                  </a:lnTo>
                  <a:lnTo>
                    <a:pt x="150" y="78"/>
                  </a:lnTo>
                  <a:lnTo>
                    <a:pt x="142" y="80"/>
                  </a:lnTo>
                  <a:lnTo>
                    <a:pt x="142" y="82"/>
                  </a:lnTo>
                  <a:lnTo>
                    <a:pt x="138" y="84"/>
                  </a:lnTo>
                  <a:lnTo>
                    <a:pt x="134" y="80"/>
                  </a:lnTo>
                  <a:lnTo>
                    <a:pt x="132" y="70"/>
                  </a:lnTo>
                  <a:lnTo>
                    <a:pt x="124" y="72"/>
                  </a:lnTo>
                  <a:lnTo>
                    <a:pt x="124" y="82"/>
                  </a:lnTo>
                  <a:lnTo>
                    <a:pt x="118" y="92"/>
                  </a:lnTo>
                  <a:lnTo>
                    <a:pt x="118" y="104"/>
                  </a:lnTo>
                  <a:lnTo>
                    <a:pt x="112" y="108"/>
                  </a:lnTo>
                  <a:lnTo>
                    <a:pt x="106" y="100"/>
                  </a:lnTo>
                  <a:lnTo>
                    <a:pt x="108" y="96"/>
                  </a:lnTo>
                  <a:lnTo>
                    <a:pt x="102" y="94"/>
                  </a:lnTo>
                  <a:lnTo>
                    <a:pt x="92" y="84"/>
                  </a:lnTo>
                  <a:lnTo>
                    <a:pt x="92" y="74"/>
                  </a:lnTo>
                  <a:lnTo>
                    <a:pt x="80" y="84"/>
                  </a:lnTo>
                  <a:lnTo>
                    <a:pt x="80" y="90"/>
                  </a:lnTo>
                  <a:lnTo>
                    <a:pt x="76" y="100"/>
                  </a:lnTo>
                  <a:lnTo>
                    <a:pt x="70" y="104"/>
                  </a:lnTo>
                  <a:lnTo>
                    <a:pt x="60" y="100"/>
                  </a:lnTo>
                  <a:lnTo>
                    <a:pt x="48" y="106"/>
                  </a:lnTo>
                  <a:lnTo>
                    <a:pt x="38" y="104"/>
                  </a:lnTo>
                  <a:lnTo>
                    <a:pt x="36" y="94"/>
                  </a:lnTo>
                  <a:lnTo>
                    <a:pt x="30" y="74"/>
                  </a:lnTo>
                  <a:lnTo>
                    <a:pt x="20" y="76"/>
                  </a:lnTo>
                  <a:lnTo>
                    <a:pt x="6" y="94"/>
                  </a:lnTo>
                  <a:lnTo>
                    <a:pt x="0" y="90"/>
                  </a:lnTo>
                  <a:lnTo>
                    <a:pt x="4" y="86"/>
                  </a:lnTo>
                  <a:lnTo>
                    <a:pt x="4" y="78"/>
                  </a:lnTo>
                  <a:lnTo>
                    <a:pt x="2" y="74"/>
                  </a:lnTo>
                  <a:lnTo>
                    <a:pt x="4" y="66"/>
                  </a:lnTo>
                  <a:lnTo>
                    <a:pt x="16" y="56"/>
                  </a:lnTo>
                  <a:lnTo>
                    <a:pt x="16" y="48"/>
                  </a:lnTo>
                  <a:lnTo>
                    <a:pt x="26" y="42"/>
                  </a:lnTo>
                  <a:lnTo>
                    <a:pt x="26" y="40"/>
                  </a:lnTo>
                  <a:lnTo>
                    <a:pt x="34" y="28"/>
                  </a:lnTo>
                  <a:lnTo>
                    <a:pt x="38" y="26"/>
                  </a:lnTo>
                  <a:lnTo>
                    <a:pt x="36" y="24"/>
                  </a:lnTo>
                  <a:lnTo>
                    <a:pt x="34" y="24"/>
                  </a:lnTo>
                  <a:lnTo>
                    <a:pt x="38" y="16"/>
                  </a:lnTo>
                  <a:lnTo>
                    <a:pt x="44" y="16"/>
                  </a:lnTo>
                  <a:lnTo>
                    <a:pt x="44" y="18"/>
                  </a:lnTo>
                  <a:lnTo>
                    <a:pt x="52" y="18"/>
                  </a:lnTo>
                  <a:lnTo>
                    <a:pt x="60" y="10"/>
                  </a:lnTo>
                  <a:lnTo>
                    <a:pt x="64" y="12"/>
                  </a:lnTo>
                  <a:lnTo>
                    <a:pt x="68" y="10"/>
                  </a:lnTo>
                  <a:lnTo>
                    <a:pt x="74" y="12"/>
                  </a:lnTo>
                  <a:lnTo>
                    <a:pt x="84" y="8"/>
                  </a:lnTo>
                  <a:lnTo>
                    <a:pt x="88" y="10"/>
                  </a:lnTo>
                  <a:lnTo>
                    <a:pt x="94" y="10"/>
                  </a:lnTo>
                  <a:lnTo>
                    <a:pt x="90" y="6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0" y="6"/>
                  </a:lnTo>
                  <a:lnTo>
                    <a:pt x="124" y="6"/>
                  </a:lnTo>
                  <a:lnTo>
                    <a:pt x="136" y="1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6">
              <a:extLst>
                <a:ext uri="{FF2B5EF4-FFF2-40B4-BE49-F238E27FC236}">
                  <a16:creationId xmlns:a16="http://schemas.microsoft.com/office/drawing/2014/main" id="{CAF789C5-1087-45F7-82D9-FA6CC5874900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0061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7">
              <a:extLst>
                <a:ext uri="{FF2B5EF4-FFF2-40B4-BE49-F238E27FC236}">
                  <a16:creationId xmlns:a16="http://schemas.microsoft.com/office/drawing/2014/main" id="{59B64758-927D-451C-891F-2527266760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67350" y="4591050"/>
              <a:ext cx="360362" cy="160337"/>
            </a:xfrm>
            <a:custGeom>
              <a:avLst/>
              <a:gdLst>
                <a:gd name="T0" fmla="*/ 2 w 218"/>
                <a:gd name="T1" fmla="*/ 144 h 102"/>
                <a:gd name="T2" fmla="*/ 14 w 218"/>
                <a:gd name="T3" fmla="*/ 127 h 102"/>
                <a:gd name="T4" fmla="*/ 30 w 218"/>
                <a:gd name="T5" fmla="*/ 118 h 102"/>
                <a:gd name="T6" fmla="*/ 37 w 218"/>
                <a:gd name="T7" fmla="*/ 111 h 102"/>
                <a:gd name="T8" fmla="*/ 50 w 218"/>
                <a:gd name="T9" fmla="*/ 111 h 102"/>
                <a:gd name="T10" fmla="*/ 76 w 218"/>
                <a:gd name="T11" fmla="*/ 118 h 102"/>
                <a:gd name="T12" fmla="*/ 81 w 218"/>
                <a:gd name="T13" fmla="*/ 111 h 102"/>
                <a:gd name="T14" fmla="*/ 89 w 218"/>
                <a:gd name="T15" fmla="*/ 118 h 102"/>
                <a:gd name="T16" fmla="*/ 107 w 218"/>
                <a:gd name="T17" fmla="*/ 111 h 102"/>
                <a:gd name="T18" fmla="*/ 120 w 218"/>
                <a:gd name="T19" fmla="*/ 105 h 102"/>
                <a:gd name="T20" fmla="*/ 126 w 218"/>
                <a:gd name="T21" fmla="*/ 101 h 102"/>
                <a:gd name="T22" fmla="*/ 143 w 218"/>
                <a:gd name="T23" fmla="*/ 101 h 102"/>
                <a:gd name="T24" fmla="*/ 150 w 218"/>
                <a:gd name="T25" fmla="*/ 89 h 102"/>
                <a:gd name="T26" fmla="*/ 157 w 218"/>
                <a:gd name="T27" fmla="*/ 86 h 102"/>
                <a:gd name="T28" fmla="*/ 172 w 218"/>
                <a:gd name="T29" fmla="*/ 78 h 102"/>
                <a:gd name="T30" fmla="*/ 182 w 218"/>
                <a:gd name="T31" fmla="*/ 64 h 102"/>
                <a:gd name="T32" fmla="*/ 187 w 218"/>
                <a:gd name="T33" fmla="*/ 47 h 102"/>
                <a:gd name="T34" fmla="*/ 196 w 218"/>
                <a:gd name="T35" fmla="*/ 42 h 102"/>
                <a:gd name="T36" fmla="*/ 212 w 218"/>
                <a:gd name="T37" fmla="*/ 36 h 102"/>
                <a:gd name="T38" fmla="*/ 227 w 218"/>
                <a:gd name="T39" fmla="*/ 26 h 102"/>
                <a:gd name="T40" fmla="*/ 243 w 218"/>
                <a:gd name="T41" fmla="*/ 15 h 102"/>
                <a:gd name="T42" fmla="*/ 246 w 218"/>
                <a:gd name="T43" fmla="*/ 11 h 102"/>
                <a:gd name="T44" fmla="*/ 265 w 218"/>
                <a:gd name="T45" fmla="*/ 15 h 102"/>
                <a:gd name="T46" fmla="*/ 277 w 218"/>
                <a:gd name="T47" fmla="*/ 2 h 102"/>
                <a:gd name="T48" fmla="*/ 303 w 218"/>
                <a:gd name="T49" fmla="*/ 11 h 102"/>
                <a:gd name="T50" fmla="*/ 332 w 218"/>
                <a:gd name="T51" fmla="*/ 21 h 102"/>
                <a:gd name="T52" fmla="*/ 353 w 218"/>
                <a:gd name="T53" fmla="*/ 2 h 102"/>
                <a:gd name="T54" fmla="*/ 378 w 218"/>
                <a:gd name="T55" fmla="*/ 0 h 102"/>
                <a:gd name="T56" fmla="*/ 392 w 218"/>
                <a:gd name="T57" fmla="*/ 26 h 102"/>
                <a:gd name="T58" fmla="*/ 414 w 218"/>
                <a:gd name="T59" fmla="*/ 36 h 102"/>
                <a:gd name="T60" fmla="*/ 414 w 218"/>
                <a:gd name="T61" fmla="*/ 58 h 102"/>
                <a:gd name="T62" fmla="*/ 453 w 218"/>
                <a:gd name="T63" fmla="*/ 58 h 102"/>
                <a:gd name="T64" fmla="*/ 469 w 218"/>
                <a:gd name="T65" fmla="*/ 36 h 102"/>
                <a:gd name="T66" fmla="*/ 520 w 218"/>
                <a:gd name="T67" fmla="*/ 26 h 102"/>
                <a:gd name="T68" fmla="*/ 580 w 218"/>
                <a:gd name="T69" fmla="*/ 42 h 102"/>
                <a:gd name="T70" fmla="*/ 610 w 218"/>
                <a:gd name="T71" fmla="*/ 21 h 102"/>
                <a:gd name="T72" fmla="*/ 681 w 218"/>
                <a:gd name="T73" fmla="*/ 15 h 102"/>
                <a:gd name="T74" fmla="*/ 731 w 218"/>
                <a:gd name="T75" fmla="*/ 42 h 102"/>
                <a:gd name="T76" fmla="*/ 771 w 218"/>
                <a:gd name="T77" fmla="*/ 64 h 102"/>
                <a:gd name="T78" fmla="*/ 755 w 218"/>
                <a:gd name="T79" fmla="*/ 184 h 102"/>
                <a:gd name="T80" fmla="*/ 685 w 218"/>
                <a:gd name="T81" fmla="*/ 181 h 102"/>
                <a:gd name="T82" fmla="*/ 580 w 218"/>
                <a:gd name="T83" fmla="*/ 160 h 102"/>
                <a:gd name="T84" fmla="*/ 469 w 218"/>
                <a:gd name="T85" fmla="*/ 216 h 102"/>
                <a:gd name="T86" fmla="*/ 401 w 218"/>
                <a:gd name="T87" fmla="*/ 216 h 102"/>
                <a:gd name="T88" fmla="*/ 316 w 218"/>
                <a:gd name="T89" fmla="*/ 228 h 102"/>
                <a:gd name="T90" fmla="*/ 277 w 218"/>
                <a:gd name="T91" fmla="*/ 269 h 102"/>
                <a:gd name="T92" fmla="*/ 143 w 218"/>
                <a:gd name="T93" fmla="*/ 267 h 102"/>
                <a:gd name="T94" fmla="*/ 76 w 218"/>
                <a:gd name="T95" fmla="*/ 240 h 102"/>
                <a:gd name="T96" fmla="*/ 14 w 218"/>
                <a:gd name="T97" fmla="*/ 213 h 102"/>
                <a:gd name="T98" fmla="*/ 2 w 218"/>
                <a:gd name="T99" fmla="*/ 154 h 102"/>
                <a:gd name="T100" fmla="*/ 2 w 218"/>
                <a:gd name="T101" fmla="*/ 149 h 10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8"/>
                <a:gd name="T154" fmla="*/ 0 h 102"/>
                <a:gd name="T155" fmla="*/ 218 w 218"/>
                <a:gd name="T156" fmla="*/ 102 h 10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8" h="102">
                  <a:moveTo>
                    <a:pt x="2" y="56"/>
                  </a:moveTo>
                  <a:lnTo>
                    <a:pt x="2" y="5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6" y="46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42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8" y="42"/>
                  </a:lnTo>
                  <a:lnTo>
                    <a:pt x="30" y="42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40" y="34"/>
                  </a:lnTo>
                  <a:lnTo>
                    <a:pt x="40" y="32"/>
                  </a:lnTo>
                  <a:lnTo>
                    <a:pt x="42" y="32"/>
                  </a:lnTo>
                  <a:lnTo>
                    <a:pt x="44" y="32"/>
                  </a:lnTo>
                  <a:lnTo>
                    <a:pt x="46" y="30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8" y="12"/>
                  </a:lnTo>
                  <a:lnTo>
                    <a:pt x="60" y="10"/>
                  </a:lnTo>
                  <a:lnTo>
                    <a:pt x="62" y="8"/>
                  </a:lnTo>
                  <a:lnTo>
                    <a:pt x="64" y="6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80" y="4"/>
                  </a:lnTo>
                  <a:lnTo>
                    <a:pt x="80" y="10"/>
                  </a:lnTo>
                  <a:lnTo>
                    <a:pt x="88" y="8"/>
                  </a:lnTo>
                  <a:lnTo>
                    <a:pt x="90" y="2"/>
                  </a:lnTo>
                  <a:lnTo>
                    <a:pt x="94" y="2"/>
                  </a:lnTo>
                  <a:lnTo>
                    <a:pt x="94" y="0"/>
                  </a:lnTo>
                  <a:lnTo>
                    <a:pt x="100" y="0"/>
                  </a:lnTo>
                  <a:lnTo>
                    <a:pt x="104" y="6"/>
                  </a:lnTo>
                  <a:lnTo>
                    <a:pt x="104" y="10"/>
                  </a:lnTo>
                  <a:lnTo>
                    <a:pt x="110" y="10"/>
                  </a:lnTo>
                  <a:lnTo>
                    <a:pt x="110" y="14"/>
                  </a:lnTo>
                  <a:lnTo>
                    <a:pt x="110" y="16"/>
                  </a:lnTo>
                  <a:lnTo>
                    <a:pt x="110" y="22"/>
                  </a:lnTo>
                  <a:lnTo>
                    <a:pt x="118" y="20"/>
                  </a:lnTo>
                  <a:lnTo>
                    <a:pt x="120" y="22"/>
                  </a:lnTo>
                  <a:lnTo>
                    <a:pt x="122" y="20"/>
                  </a:lnTo>
                  <a:lnTo>
                    <a:pt x="124" y="14"/>
                  </a:lnTo>
                  <a:lnTo>
                    <a:pt x="134" y="8"/>
                  </a:lnTo>
                  <a:lnTo>
                    <a:pt x="138" y="10"/>
                  </a:lnTo>
                  <a:lnTo>
                    <a:pt x="146" y="10"/>
                  </a:lnTo>
                  <a:lnTo>
                    <a:pt x="154" y="16"/>
                  </a:lnTo>
                  <a:lnTo>
                    <a:pt x="160" y="12"/>
                  </a:lnTo>
                  <a:lnTo>
                    <a:pt x="162" y="8"/>
                  </a:lnTo>
                  <a:lnTo>
                    <a:pt x="170" y="8"/>
                  </a:lnTo>
                  <a:lnTo>
                    <a:pt x="180" y="6"/>
                  </a:lnTo>
                  <a:lnTo>
                    <a:pt x="182" y="10"/>
                  </a:lnTo>
                  <a:lnTo>
                    <a:pt x="194" y="16"/>
                  </a:lnTo>
                  <a:lnTo>
                    <a:pt x="196" y="20"/>
                  </a:lnTo>
                  <a:lnTo>
                    <a:pt x="204" y="24"/>
                  </a:lnTo>
                  <a:lnTo>
                    <a:pt x="218" y="32"/>
                  </a:lnTo>
                  <a:lnTo>
                    <a:pt x="200" y="70"/>
                  </a:lnTo>
                  <a:lnTo>
                    <a:pt x="188" y="72"/>
                  </a:lnTo>
                  <a:lnTo>
                    <a:pt x="182" y="68"/>
                  </a:lnTo>
                  <a:lnTo>
                    <a:pt x="172" y="60"/>
                  </a:lnTo>
                  <a:lnTo>
                    <a:pt x="154" y="60"/>
                  </a:lnTo>
                  <a:lnTo>
                    <a:pt x="142" y="62"/>
                  </a:lnTo>
                  <a:lnTo>
                    <a:pt x="124" y="82"/>
                  </a:lnTo>
                  <a:lnTo>
                    <a:pt x="116" y="82"/>
                  </a:lnTo>
                  <a:lnTo>
                    <a:pt x="106" y="82"/>
                  </a:lnTo>
                  <a:lnTo>
                    <a:pt x="98" y="82"/>
                  </a:lnTo>
                  <a:lnTo>
                    <a:pt x="84" y="86"/>
                  </a:lnTo>
                  <a:lnTo>
                    <a:pt x="80" y="86"/>
                  </a:lnTo>
                  <a:lnTo>
                    <a:pt x="74" y="102"/>
                  </a:lnTo>
                  <a:lnTo>
                    <a:pt x="46" y="100"/>
                  </a:lnTo>
                  <a:lnTo>
                    <a:pt x="38" y="100"/>
                  </a:lnTo>
                  <a:lnTo>
                    <a:pt x="28" y="94"/>
                  </a:lnTo>
                  <a:lnTo>
                    <a:pt x="20" y="90"/>
                  </a:lnTo>
                  <a:lnTo>
                    <a:pt x="16" y="94"/>
                  </a:lnTo>
                  <a:lnTo>
                    <a:pt x="4" y="80"/>
                  </a:lnTo>
                  <a:lnTo>
                    <a:pt x="0" y="74"/>
                  </a:lnTo>
                  <a:lnTo>
                    <a:pt x="2" y="58"/>
                  </a:lnTo>
                  <a:lnTo>
                    <a:pt x="2" y="5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8">
              <a:extLst>
                <a:ext uri="{FF2B5EF4-FFF2-40B4-BE49-F238E27FC236}">
                  <a16:creationId xmlns:a16="http://schemas.microsoft.com/office/drawing/2014/main" id="{E7933CE1-282A-4B65-B493-3A2BDBEEE1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41925" y="4838700"/>
              <a:ext cx="200025" cy="123825"/>
            </a:xfrm>
            <a:custGeom>
              <a:avLst/>
              <a:gdLst>
                <a:gd name="T0" fmla="*/ 110 w 122"/>
                <a:gd name="T1" fmla="*/ 63 h 80"/>
                <a:gd name="T2" fmla="*/ 209 w 122"/>
                <a:gd name="T3" fmla="*/ 42 h 80"/>
                <a:gd name="T4" fmla="*/ 321 w 122"/>
                <a:gd name="T5" fmla="*/ 26 h 80"/>
                <a:gd name="T6" fmla="*/ 419 w 122"/>
                <a:gd name="T7" fmla="*/ 0 h 80"/>
                <a:gd name="T8" fmla="*/ 455 w 122"/>
                <a:gd name="T9" fmla="*/ 58 h 80"/>
                <a:gd name="T10" fmla="*/ 437 w 122"/>
                <a:gd name="T11" fmla="*/ 54 h 80"/>
                <a:gd name="T12" fmla="*/ 419 w 122"/>
                <a:gd name="T13" fmla="*/ 58 h 80"/>
                <a:gd name="T14" fmla="*/ 411 w 122"/>
                <a:gd name="T15" fmla="*/ 74 h 80"/>
                <a:gd name="T16" fmla="*/ 394 w 122"/>
                <a:gd name="T17" fmla="*/ 74 h 80"/>
                <a:gd name="T18" fmla="*/ 380 w 122"/>
                <a:gd name="T19" fmla="*/ 86 h 80"/>
                <a:gd name="T20" fmla="*/ 361 w 122"/>
                <a:gd name="T21" fmla="*/ 89 h 80"/>
                <a:gd name="T22" fmla="*/ 336 w 122"/>
                <a:gd name="T23" fmla="*/ 94 h 80"/>
                <a:gd name="T24" fmla="*/ 321 w 122"/>
                <a:gd name="T25" fmla="*/ 110 h 80"/>
                <a:gd name="T26" fmla="*/ 336 w 122"/>
                <a:gd name="T27" fmla="*/ 120 h 80"/>
                <a:gd name="T28" fmla="*/ 336 w 122"/>
                <a:gd name="T29" fmla="*/ 137 h 80"/>
                <a:gd name="T30" fmla="*/ 336 w 122"/>
                <a:gd name="T31" fmla="*/ 152 h 80"/>
                <a:gd name="T32" fmla="*/ 315 w 122"/>
                <a:gd name="T33" fmla="*/ 152 h 80"/>
                <a:gd name="T34" fmla="*/ 292 w 122"/>
                <a:gd name="T35" fmla="*/ 156 h 80"/>
                <a:gd name="T36" fmla="*/ 277 w 122"/>
                <a:gd name="T37" fmla="*/ 167 h 80"/>
                <a:gd name="T38" fmla="*/ 284 w 122"/>
                <a:gd name="T39" fmla="*/ 175 h 80"/>
                <a:gd name="T40" fmla="*/ 284 w 122"/>
                <a:gd name="T41" fmla="*/ 183 h 80"/>
                <a:gd name="T42" fmla="*/ 277 w 122"/>
                <a:gd name="T43" fmla="*/ 189 h 80"/>
                <a:gd name="T44" fmla="*/ 284 w 122"/>
                <a:gd name="T45" fmla="*/ 206 h 80"/>
                <a:gd name="T46" fmla="*/ 270 w 122"/>
                <a:gd name="T47" fmla="*/ 210 h 80"/>
                <a:gd name="T48" fmla="*/ 254 w 122"/>
                <a:gd name="T49" fmla="*/ 206 h 80"/>
                <a:gd name="T50" fmla="*/ 233 w 122"/>
                <a:gd name="T51" fmla="*/ 200 h 80"/>
                <a:gd name="T52" fmla="*/ 226 w 122"/>
                <a:gd name="T53" fmla="*/ 206 h 80"/>
                <a:gd name="T54" fmla="*/ 198 w 122"/>
                <a:gd name="T55" fmla="*/ 206 h 80"/>
                <a:gd name="T56" fmla="*/ 187 w 122"/>
                <a:gd name="T57" fmla="*/ 189 h 80"/>
                <a:gd name="T58" fmla="*/ 181 w 122"/>
                <a:gd name="T59" fmla="*/ 183 h 80"/>
                <a:gd name="T60" fmla="*/ 181 w 122"/>
                <a:gd name="T61" fmla="*/ 179 h 80"/>
                <a:gd name="T62" fmla="*/ 171 w 122"/>
                <a:gd name="T63" fmla="*/ 183 h 80"/>
                <a:gd name="T64" fmla="*/ 166 w 122"/>
                <a:gd name="T65" fmla="*/ 195 h 80"/>
                <a:gd name="T66" fmla="*/ 150 w 122"/>
                <a:gd name="T67" fmla="*/ 206 h 80"/>
                <a:gd name="T68" fmla="*/ 126 w 122"/>
                <a:gd name="T69" fmla="*/ 200 h 80"/>
                <a:gd name="T70" fmla="*/ 107 w 122"/>
                <a:gd name="T71" fmla="*/ 206 h 80"/>
                <a:gd name="T72" fmla="*/ 88 w 122"/>
                <a:gd name="T73" fmla="*/ 200 h 80"/>
                <a:gd name="T74" fmla="*/ 88 w 122"/>
                <a:gd name="T75" fmla="*/ 206 h 80"/>
                <a:gd name="T76" fmla="*/ 76 w 122"/>
                <a:gd name="T77" fmla="*/ 206 h 80"/>
                <a:gd name="T78" fmla="*/ 61 w 122"/>
                <a:gd name="T79" fmla="*/ 206 h 80"/>
                <a:gd name="T80" fmla="*/ 30 w 122"/>
                <a:gd name="T81" fmla="*/ 206 h 80"/>
                <a:gd name="T82" fmla="*/ 65 w 122"/>
                <a:gd name="T83" fmla="*/ 175 h 80"/>
                <a:gd name="T84" fmla="*/ 37 w 122"/>
                <a:gd name="T85" fmla="*/ 132 h 80"/>
                <a:gd name="T86" fmla="*/ 21 w 122"/>
                <a:gd name="T87" fmla="*/ 94 h 80"/>
                <a:gd name="T88" fmla="*/ 37 w 122"/>
                <a:gd name="T89" fmla="*/ 68 h 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2"/>
                <a:gd name="T136" fmla="*/ 0 h 80"/>
                <a:gd name="T137" fmla="*/ 122 w 122"/>
                <a:gd name="T138" fmla="*/ 80 h 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2" h="80">
                  <a:moveTo>
                    <a:pt x="8" y="20"/>
                  </a:moveTo>
                  <a:lnTo>
                    <a:pt x="26" y="22"/>
                  </a:lnTo>
                  <a:lnTo>
                    <a:pt x="30" y="24"/>
                  </a:lnTo>
                  <a:lnTo>
                    <a:pt x="40" y="24"/>
                  </a:lnTo>
                  <a:lnTo>
                    <a:pt x="44" y="28"/>
                  </a:lnTo>
                  <a:lnTo>
                    <a:pt x="56" y="16"/>
                  </a:lnTo>
                  <a:lnTo>
                    <a:pt x="66" y="12"/>
                  </a:lnTo>
                  <a:lnTo>
                    <a:pt x="80" y="16"/>
                  </a:lnTo>
                  <a:lnTo>
                    <a:pt x="86" y="10"/>
                  </a:lnTo>
                  <a:lnTo>
                    <a:pt x="100" y="12"/>
                  </a:lnTo>
                  <a:lnTo>
                    <a:pt x="100" y="4"/>
                  </a:lnTo>
                  <a:lnTo>
                    <a:pt x="112" y="0"/>
                  </a:lnTo>
                  <a:lnTo>
                    <a:pt x="116" y="14"/>
                  </a:lnTo>
                  <a:lnTo>
                    <a:pt x="122" y="22"/>
                  </a:lnTo>
                  <a:lnTo>
                    <a:pt x="120" y="20"/>
                  </a:lnTo>
                  <a:lnTo>
                    <a:pt x="118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2" y="22"/>
                  </a:lnTo>
                  <a:lnTo>
                    <a:pt x="112" y="26"/>
                  </a:lnTo>
                  <a:lnTo>
                    <a:pt x="112" y="28"/>
                  </a:lnTo>
                  <a:lnTo>
                    <a:pt x="110" y="28"/>
                  </a:lnTo>
                  <a:lnTo>
                    <a:pt x="108" y="28"/>
                  </a:lnTo>
                  <a:lnTo>
                    <a:pt x="108" y="26"/>
                  </a:lnTo>
                  <a:lnTo>
                    <a:pt x="106" y="28"/>
                  </a:lnTo>
                  <a:lnTo>
                    <a:pt x="104" y="30"/>
                  </a:lnTo>
                  <a:lnTo>
                    <a:pt x="104" y="32"/>
                  </a:lnTo>
                  <a:lnTo>
                    <a:pt x="102" y="32"/>
                  </a:lnTo>
                  <a:lnTo>
                    <a:pt x="100" y="32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88" y="38"/>
                  </a:lnTo>
                  <a:lnTo>
                    <a:pt x="86" y="40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90" y="46"/>
                  </a:lnTo>
                  <a:lnTo>
                    <a:pt x="90" y="48"/>
                  </a:lnTo>
                  <a:lnTo>
                    <a:pt x="90" y="50"/>
                  </a:lnTo>
                  <a:lnTo>
                    <a:pt x="90" y="52"/>
                  </a:lnTo>
                  <a:lnTo>
                    <a:pt x="90" y="54"/>
                  </a:lnTo>
                  <a:lnTo>
                    <a:pt x="90" y="56"/>
                  </a:lnTo>
                  <a:lnTo>
                    <a:pt x="90" y="58"/>
                  </a:lnTo>
                  <a:lnTo>
                    <a:pt x="88" y="58"/>
                  </a:lnTo>
                  <a:lnTo>
                    <a:pt x="86" y="58"/>
                  </a:lnTo>
                  <a:lnTo>
                    <a:pt x="84" y="58"/>
                  </a:lnTo>
                  <a:lnTo>
                    <a:pt x="82" y="58"/>
                  </a:lnTo>
                  <a:lnTo>
                    <a:pt x="80" y="60"/>
                  </a:lnTo>
                  <a:lnTo>
                    <a:pt x="78" y="60"/>
                  </a:lnTo>
                  <a:lnTo>
                    <a:pt x="78" y="62"/>
                  </a:lnTo>
                  <a:lnTo>
                    <a:pt x="76" y="62"/>
                  </a:lnTo>
                  <a:lnTo>
                    <a:pt x="74" y="64"/>
                  </a:lnTo>
                  <a:lnTo>
                    <a:pt x="76" y="66"/>
                  </a:lnTo>
                  <a:lnTo>
                    <a:pt x="78" y="68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4" y="72"/>
                  </a:lnTo>
                  <a:lnTo>
                    <a:pt x="76" y="74"/>
                  </a:lnTo>
                  <a:lnTo>
                    <a:pt x="76" y="76"/>
                  </a:lnTo>
                  <a:lnTo>
                    <a:pt x="76" y="78"/>
                  </a:lnTo>
                  <a:lnTo>
                    <a:pt x="74" y="78"/>
                  </a:lnTo>
                  <a:lnTo>
                    <a:pt x="72" y="80"/>
                  </a:lnTo>
                  <a:lnTo>
                    <a:pt x="70" y="80"/>
                  </a:lnTo>
                  <a:lnTo>
                    <a:pt x="68" y="80"/>
                  </a:lnTo>
                  <a:lnTo>
                    <a:pt x="68" y="78"/>
                  </a:lnTo>
                  <a:lnTo>
                    <a:pt x="66" y="78"/>
                  </a:lnTo>
                  <a:lnTo>
                    <a:pt x="64" y="78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8"/>
                  </a:lnTo>
                  <a:lnTo>
                    <a:pt x="58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76"/>
                  </a:lnTo>
                  <a:lnTo>
                    <a:pt x="52" y="76"/>
                  </a:lnTo>
                  <a:lnTo>
                    <a:pt x="50" y="72"/>
                  </a:lnTo>
                  <a:lnTo>
                    <a:pt x="48" y="70"/>
                  </a:lnTo>
                  <a:lnTo>
                    <a:pt x="48" y="68"/>
                  </a:lnTo>
                  <a:lnTo>
                    <a:pt x="46" y="68"/>
                  </a:lnTo>
                  <a:lnTo>
                    <a:pt x="46" y="70"/>
                  </a:lnTo>
                  <a:lnTo>
                    <a:pt x="44" y="72"/>
                  </a:lnTo>
                  <a:lnTo>
                    <a:pt x="44" y="74"/>
                  </a:lnTo>
                  <a:lnTo>
                    <a:pt x="42" y="76"/>
                  </a:lnTo>
                  <a:lnTo>
                    <a:pt x="40" y="78"/>
                  </a:lnTo>
                  <a:lnTo>
                    <a:pt x="36" y="78"/>
                  </a:lnTo>
                  <a:lnTo>
                    <a:pt x="34" y="76"/>
                  </a:lnTo>
                  <a:lnTo>
                    <a:pt x="32" y="78"/>
                  </a:lnTo>
                  <a:lnTo>
                    <a:pt x="30" y="78"/>
                  </a:lnTo>
                  <a:lnTo>
                    <a:pt x="28" y="78"/>
                  </a:lnTo>
                  <a:lnTo>
                    <a:pt x="26" y="76"/>
                  </a:lnTo>
                  <a:lnTo>
                    <a:pt x="24" y="76"/>
                  </a:lnTo>
                  <a:lnTo>
                    <a:pt x="24" y="78"/>
                  </a:lnTo>
                  <a:lnTo>
                    <a:pt x="22" y="78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8" y="78"/>
                  </a:lnTo>
                  <a:lnTo>
                    <a:pt x="14" y="76"/>
                  </a:lnTo>
                  <a:lnTo>
                    <a:pt x="16" y="72"/>
                  </a:lnTo>
                  <a:lnTo>
                    <a:pt x="18" y="66"/>
                  </a:lnTo>
                  <a:lnTo>
                    <a:pt x="12" y="62"/>
                  </a:lnTo>
                  <a:lnTo>
                    <a:pt x="6" y="60"/>
                  </a:lnTo>
                  <a:lnTo>
                    <a:pt x="10" y="50"/>
                  </a:lnTo>
                  <a:lnTo>
                    <a:pt x="4" y="48"/>
                  </a:lnTo>
                  <a:lnTo>
                    <a:pt x="10" y="42"/>
                  </a:lnTo>
                  <a:lnTo>
                    <a:pt x="6" y="36"/>
                  </a:lnTo>
                  <a:lnTo>
                    <a:pt x="2" y="36"/>
                  </a:lnTo>
                  <a:lnTo>
                    <a:pt x="0" y="32"/>
                  </a:lnTo>
                  <a:lnTo>
                    <a:pt x="10" y="26"/>
                  </a:lnTo>
                  <a:lnTo>
                    <a:pt x="8" y="2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9">
              <a:extLst>
                <a:ext uri="{FF2B5EF4-FFF2-40B4-BE49-F238E27FC236}">
                  <a16:creationId xmlns:a16="http://schemas.microsoft.com/office/drawing/2014/main" id="{DA105341-FDB1-4FF8-BE62-1D58EC4B31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24488" y="4686300"/>
              <a:ext cx="433387" cy="247650"/>
            </a:xfrm>
            <a:custGeom>
              <a:avLst/>
              <a:gdLst>
                <a:gd name="T0" fmla="*/ 387 w 260"/>
                <a:gd name="T1" fmla="*/ 388 h 160"/>
                <a:gd name="T2" fmla="*/ 350 w 260"/>
                <a:gd name="T3" fmla="*/ 403 h 160"/>
                <a:gd name="T4" fmla="*/ 318 w 260"/>
                <a:gd name="T5" fmla="*/ 403 h 160"/>
                <a:gd name="T6" fmla="*/ 270 w 260"/>
                <a:gd name="T7" fmla="*/ 408 h 160"/>
                <a:gd name="T8" fmla="*/ 231 w 260"/>
                <a:gd name="T9" fmla="*/ 403 h 160"/>
                <a:gd name="T10" fmla="*/ 157 w 260"/>
                <a:gd name="T11" fmla="*/ 358 h 160"/>
                <a:gd name="T12" fmla="*/ 57 w 260"/>
                <a:gd name="T13" fmla="*/ 321 h 160"/>
                <a:gd name="T14" fmla="*/ 39 w 260"/>
                <a:gd name="T15" fmla="*/ 306 h 160"/>
                <a:gd name="T16" fmla="*/ 16 w 260"/>
                <a:gd name="T17" fmla="*/ 285 h 160"/>
                <a:gd name="T18" fmla="*/ 0 w 260"/>
                <a:gd name="T19" fmla="*/ 250 h 160"/>
                <a:gd name="T20" fmla="*/ 25 w 260"/>
                <a:gd name="T21" fmla="*/ 229 h 160"/>
                <a:gd name="T22" fmla="*/ 31 w 260"/>
                <a:gd name="T23" fmla="*/ 209 h 160"/>
                <a:gd name="T24" fmla="*/ 16 w 260"/>
                <a:gd name="T25" fmla="*/ 198 h 160"/>
                <a:gd name="T26" fmla="*/ 25 w 260"/>
                <a:gd name="T27" fmla="*/ 172 h 160"/>
                <a:gd name="T28" fmla="*/ 48 w 260"/>
                <a:gd name="T29" fmla="*/ 168 h 160"/>
                <a:gd name="T30" fmla="*/ 57 w 260"/>
                <a:gd name="T31" fmla="*/ 153 h 160"/>
                <a:gd name="T32" fmla="*/ 48 w 260"/>
                <a:gd name="T33" fmla="*/ 143 h 160"/>
                <a:gd name="T34" fmla="*/ 16 w 260"/>
                <a:gd name="T35" fmla="*/ 138 h 160"/>
                <a:gd name="T36" fmla="*/ 31 w 260"/>
                <a:gd name="T37" fmla="*/ 126 h 160"/>
                <a:gd name="T38" fmla="*/ 57 w 260"/>
                <a:gd name="T39" fmla="*/ 126 h 160"/>
                <a:gd name="T40" fmla="*/ 72 w 260"/>
                <a:gd name="T41" fmla="*/ 132 h 160"/>
                <a:gd name="T42" fmla="*/ 118 w 260"/>
                <a:gd name="T43" fmla="*/ 132 h 160"/>
                <a:gd name="T44" fmla="*/ 118 w 260"/>
                <a:gd name="T45" fmla="*/ 106 h 160"/>
                <a:gd name="T46" fmla="*/ 157 w 260"/>
                <a:gd name="T47" fmla="*/ 88 h 160"/>
                <a:gd name="T48" fmla="*/ 172 w 260"/>
                <a:gd name="T49" fmla="*/ 76 h 160"/>
                <a:gd name="T50" fmla="*/ 206 w 260"/>
                <a:gd name="T51" fmla="*/ 88 h 160"/>
                <a:gd name="T52" fmla="*/ 245 w 260"/>
                <a:gd name="T53" fmla="*/ 103 h 160"/>
                <a:gd name="T54" fmla="*/ 278 w 260"/>
                <a:gd name="T55" fmla="*/ 103 h 160"/>
                <a:gd name="T56" fmla="*/ 387 w 260"/>
                <a:gd name="T57" fmla="*/ 106 h 160"/>
                <a:gd name="T58" fmla="*/ 415 w 260"/>
                <a:gd name="T59" fmla="*/ 65 h 160"/>
                <a:gd name="T60" fmla="*/ 428 w 260"/>
                <a:gd name="T61" fmla="*/ 65 h 160"/>
                <a:gd name="T62" fmla="*/ 479 w 260"/>
                <a:gd name="T63" fmla="*/ 56 h 160"/>
                <a:gd name="T64" fmla="*/ 516 w 260"/>
                <a:gd name="T65" fmla="*/ 56 h 160"/>
                <a:gd name="T66" fmla="*/ 553 w 260"/>
                <a:gd name="T67" fmla="*/ 56 h 160"/>
                <a:gd name="T68" fmla="*/ 585 w 260"/>
                <a:gd name="T69" fmla="*/ 56 h 160"/>
                <a:gd name="T70" fmla="*/ 658 w 260"/>
                <a:gd name="T71" fmla="*/ 2 h 160"/>
                <a:gd name="T72" fmla="*/ 706 w 260"/>
                <a:gd name="T73" fmla="*/ 0 h 160"/>
                <a:gd name="T74" fmla="*/ 779 w 260"/>
                <a:gd name="T75" fmla="*/ 0 h 160"/>
                <a:gd name="T76" fmla="*/ 816 w 260"/>
                <a:gd name="T77" fmla="*/ 21 h 160"/>
                <a:gd name="T78" fmla="*/ 841 w 260"/>
                <a:gd name="T79" fmla="*/ 30 h 160"/>
                <a:gd name="T80" fmla="*/ 888 w 260"/>
                <a:gd name="T81" fmla="*/ 26 h 160"/>
                <a:gd name="T82" fmla="*/ 894 w 260"/>
                <a:gd name="T83" fmla="*/ 26 h 160"/>
                <a:gd name="T84" fmla="*/ 941 w 260"/>
                <a:gd name="T85" fmla="*/ 47 h 160"/>
                <a:gd name="T86" fmla="*/ 981 w 260"/>
                <a:gd name="T87" fmla="*/ 63 h 160"/>
                <a:gd name="T88" fmla="*/ 1028 w 260"/>
                <a:gd name="T89" fmla="*/ 88 h 160"/>
                <a:gd name="T90" fmla="*/ 999 w 260"/>
                <a:gd name="T91" fmla="*/ 106 h 160"/>
                <a:gd name="T92" fmla="*/ 919 w 260"/>
                <a:gd name="T93" fmla="*/ 122 h 160"/>
                <a:gd name="T94" fmla="*/ 878 w 260"/>
                <a:gd name="T95" fmla="*/ 153 h 160"/>
                <a:gd name="T96" fmla="*/ 816 w 260"/>
                <a:gd name="T97" fmla="*/ 244 h 160"/>
                <a:gd name="T98" fmla="*/ 767 w 260"/>
                <a:gd name="T99" fmla="*/ 300 h 160"/>
                <a:gd name="T100" fmla="*/ 719 w 260"/>
                <a:gd name="T101" fmla="*/ 334 h 160"/>
                <a:gd name="T102" fmla="*/ 696 w 260"/>
                <a:gd name="T103" fmla="*/ 347 h 160"/>
                <a:gd name="T104" fmla="*/ 643 w 260"/>
                <a:gd name="T105" fmla="*/ 347 h 160"/>
                <a:gd name="T106" fmla="*/ 625 w 260"/>
                <a:gd name="T107" fmla="*/ 358 h 160"/>
                <a:gd name="T108" fmla="*/ 610 w 260"/>
                <a:gd name="T109" fmla="*/ 358 h 160"/>
                <a:gd name="T110" fmla="*/ 553 w 260"/>
                <a:gd name="T111" fmla="*/ 351 h 160"/>
                <a:gd name="T112" fmla="*/ 492 w 260"/>
                <a:gd name="T113" fmla="*/ 358 h 160"/>
                <a:gd name="T114" fmla="*/ 387 w 260"/>
                <a:gd name="T115" fmla="*/ 388 h 160"/>
                <a:gd name="T116" fmla="*/ 387 w 260"/>
                <a:gd name="T117" fmla="*/ 388 h 1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0"/>
                <a:gd name="T178" fmla="*/ 0 h 160"/>
                <a:gd name="T179" fmla="*/ 260 w 260"/>
                <a:gd name="T180" fmla="*/ 160 h 1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0" h="160">
                  <a:moveTo>
                    <a:pt x="98" y="152"/>
                  </a:moveTo>
                  <a:lnTo>
                    <a:pt x="88" y="158"/>
                  </a:lnTo>
                  <a:lnTo>
                    <a:pt x="80" y="158"/>
                  </a:lnTo>
                  <a:lnTo>
                    <a:pt x="68" y="160"/>
                  </a:lnTo>
                  <a:lnTo>
                    <a:pt x="58" y="158"/>
                  </a:lnTo>
                  <a:lnTo>
                    <a:pt x="40" y="140"/>
                  </a:lnTo>
                  <a:lnTo>
                    <a:pt x="14" y="126"/>
                  </a:lnTo>
                  <a:lnTo>
                    <a:pt x="10" y="120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6" y="90"/>
                  </a:lnTo>
                  <a:lnTo>
                    <a:pt x="8" y="82"/>
                  </a:lnTo>
                  <a:lnTo>
                    <a:pt x="4" y="78"/>
                  </a:lnTo>
                  <a:lnTo>
                    <a:pt x="6" y="68"/>
                  </a:lnTo>
                  <a:lnTo>
                    <a:pt x="12" y="66"/>
                  </a:lnTo>
                  <a:lnTo>
                    <a:pt x="14" y="60"/>
                  </a:lnTo>
                  <a:lnTo>
                    <a:pt x="12" y="56"/>
                  </a:lnTo>
                  <a:lnTo>
                    <a:pt x="4" y="54"/>
                  </a:lnTo>
                  <a:lnTo>
                    <a:pt x="8" y="50"/>
                  </a:lnTo>
                  <a:lnTo>
                    <a:pt x="14" y="50"/>
                  </a:lnTo>
                  <a:lnTo>
                    <a:pt x="18" y="52"/>
                  </a:lnTo>
                  <a:lnTo>
                    <a:pt x="30" y="52"/>
                  </a:lnTo>
                  <a:lnTo>
                    <a:pt x="30" y="42"/>
                  </a:lnTo>
                  <a:lnTo>
                    <a:pt x="40" y="34"/>
                  </a:lnTo>
                  <a:lnTo>
                    <a:pt x="44" y="30"/>
                  </a:lnTo>
                  <a:lnTo>
                    <a:pt x="52" y="34"/>
                  </a:lnTo>
                  <a:lnTo>
                    <a:pt x="62" y="40"/>
                  </a:lnTo>
                  <a:lnTo>
                    <a:pt x="70" y="40"/>
                  </a:lnTo>
                  <a:lnTo>
                    <a:pt x="98" y="42"/>
                  </a:lnTo>
                  <a:lnTo>
                    <a:pt x="104" y="26"/>
                  </a:lnTo>
                  <a:lnTo>
                    <a:pt x="108" y="26"/>
                  </a:lnTo>
                  <a:lnTo>
                    <a:pt x="122" y="22"/>
                  </a:lnTo>
                  <a:lnTo>
                    <a:pt x="130" y="22"/>
                  </a:lnTo>
                  <a:lnTo>
                    <a:pt x="140" y="22"/>
                  </a:lnTo>
                  <a:lnTo>
                    <a:pt x="148" y="22"/>
                  </a:lnTo>
                  <a:lnTo>
                    <a:pt x="166" y="2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206" y="8"/>
                  </a:lnTo>
                  <a:lnTo>
                    <a:pt x="212" y="12"/>
                  </a:lnTo>
                  <a:lnTo>
                    <a:pt x="224" y="10"/>
                  </a:lnTo>
                  <a:lnTo>
                    <a:pt x="226" y="10"/>
                  </a:lnTo>
                  <a:lnTo>
                    <a:pt x="238" y="18"/>
                  </a:lnTo>
                  <a:lnTo>
                    <a:pt x="248" y="24"/>
                  </a:lnTo>
                  <a:lnTo>
                    <a:pt x="260" y="34"/>
                  </a:lnTo>
                  <a:lnTo>
                    <a:pt x="252" y="42"/>
                  </a:lnTo>
                  <a:lnTo>
                    <a:pt x="232" y="48"/>
                  </a:lnTo>
                  <a:lnTo>
                    <a:pt x="222" y="60"/>
                  </a:lnTo>
                  <a:lnTo>
                    <a:pt x="206" y="96"/>
                  </a:lnTo>
                  <a:lnTo>
                    <a:pt x="194" y="118"/>
                  </a:lnTo>
                  <a:lnTo>
                    <a:pt x="182" y="132"/>
                  </a:lnTo>
                  <a:lnTo>
                    <a:pt x="176" y="136"/>
                  </a:lnTo>
                  <a:lnTo>
                    <a:pt x="162" y="136"/>
                  </a:lnTo>
                  <a:lnTo>
                    <a:pt x="158" y="140"/>
                  </a:lnTo>
                  <a:lnTo>
                    <a:pt x="154" y="140"/>
                  </a:lnTo>
                  <a:lnTo>
                    <a:pt x="140" y="138"/>
                  </a:lnTo>
                  <a:lnTo>
                    <a:pt x="124" y="140"/>
                  </a:lnTo>
                  <a:lnTo>
                    <a:pt x="98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30">
              <a:extLst>
                <a:ext uri="{FF2B5EF4-FFF2-40B4-BE49-F238E27FC236}">
                  <a16:creationId xmlns:a16="http://schemas.microsoft.com/office/drawing/2014/main" id="{26DACC5C-E632-4262-9EF7-DA010D1274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251450" y="4868863"/>
              <a:ext cx="373062" cy="347662"/>
            </a:xfrm>
            <a:custGeom>
              <a:avLst/>
              <a:gdLst>
                <a:gd name="T0" fmla="*/ 428 w 226"/>
                <a:gd name="T1" fmla="*/ 436 h 224"/>
                <a:gd name="T2" fmla="*/ 229 w 226"/>
                <a:gd name="T3" fmla="*/ 325 h 224"/>
                <a:gd name="T4" fmla="*/ 198 w 226"/>
                <a:gd name="T5" fmla="*/ 258 h 224"/>
                <a:gd name="T6" fmla="*/ 106 w 226"/>
                <a:gd name="T7" fmla="*/ 208 h 224"/>
                <a:gd name="T8" fmla="*/ 50 w 226"/>
                <a:gd name="T9" fmla="*/ 252 h 224"/>
                <a:gd name="T10" fmla="*/ 21 w 226"/>
                <a:gd name="T11" fmla="*/ 156 h 224"/>
                <a:gd name="T12" fmla="*/ 50 w 226"/>
                <a:gd name="T13" fmla="*/ 151 h 224"/>
                <a:gd name="T14" fmla="*/ 65 w 226"/>
                <a:gd name="T15" fmla="*/ 146 h 224"/>
                <a:gd name="T16" fmla="*/ 88 w 226"/>
                <a:gd name="T17" fmla="*/ 151 h 224"/>
                <a:gd name="T18" fmla="*/ 126 w 226"/>
                <a:gd name="T19" fmla="*/ 151 h 224"/>
                <a:gd name="T20" fmla="*/ 139 w 226"/>
                <a:gd name="T21" fmla="*/ 137 h 224"/>
                <a:gd name="T22" fmla="*/ 157 w 226"/>
                <a:gd name="T23" fmla="*/ 124 h 224"/>
                <a:gd name="T24" fmla="*/ 164 w 226"/>
                <a:gd name="T25" fmla="*/ 137 h 224"/>
                <a:gd name="T26" fmla="*/ 195 w 226"/>
                <a:gd name="T27" fmla="*/ 151 h 224"/>
                <a:gd name="T28" fmla="*/ 215 w 226"/>
                <a:gd name="T29" fmla="*/ 151 h 224"/>
                <a:gd name="T30" fmla="*/ 244 w 226"/>
                <a:gd name="T31" fmla="*/ 156 h 224"/>
                <a:gd name="T32" fmla="*/ 259 w 226"/>
                <a:gd name="T33" fmla="*/ 141 h 224"/>
                <a:gd name="T34" fmla="*/ 267 w 226"/>
                <a:gd name="T35" fmla="*/ 124 h 224"/>
                <a:gd name="T36" fmla="*/ 254 w 226"/>
                <a:gd name="T37" fmla="*/ 117 h 224"/>
                <a:gd name="T38" fmla="*/ 279 w 226"/>
                <a:gd name="T39" fmla="*/ 101 h 224"/>
                <a:gd name="T40" fmla="*/ 307 w 226"/>
                <a:gd name="T41" fmla="*/ 94 h 224"/>
                <a:gd name="T42" fmla="*/ 307 w 226"/>
                <a:gd name="T43" fmla="*/ 68 h 224"/>
                <a:gd name="T44" fmla="*/ 303 w 226"/>
                <a:gd name="T45" fmla="*/ 47 h 224"/>
                <a:gd name="T46" fmla="*/ 341 w 226"/>
                <a:gd name="T47" fmla="*/ 36 h 224"/>
                <a:gd name="T48" fmla="*/ 367 w 226"/>
                <a:gd name="T49" fmla="*/ 21 h 224"/>
                <a:gd name="T50" fmla="*/ 393 w 226"/>
                <a:gd name="T51" fmla="*/ 15 h 224"/>
                <a:gd name="T52" fmla="*/ 413 w 226"/>
                <a:gd name="T53" fmla="*/ 0 h 224"/>
                <a:gd name="T54" fmla="*/ 540 w 226"/>
                <a:gd name="T55" fmla="*/ 58 h 224"/>
                <a:gd name="T56" fmla="*/ 756 w 226"/>
                <a:gd name="T57" fmla="*/ 89 h 224"/>
                <a:gd name="T58" fmla="*/ 768 w 226"/>
                <a:gd name="T59" fmla="*/ 120 h 224"/>
                <a:gd name="T60" fmla="*/ 776 w 226"/>
                <a:gd name="T61" fmla="*/ 141 h 224"/>
                <a:gd name="T62" fmla="*/ 776 w 226"/>
                <a:gd name="T63" fmla="*/ 151 h 224"/>
                <a:gd name="T64" fmla="*/ 792 w 226"/>
                <a:gd name="T65" fmla="*/ 167 h 224"/>
                <a:gd name="T66" fmla="*/ 819 w 226"/>
                <a:gd name="T67" fmla="*/ 183 h 224"/>
                <a:gd name="T68" fmla="*/ 828 w 226"/>
                <a:gd name="T69" fmla="*/ 195 h 224"/>
                <a:gd name="T70" fmla="*/ 806 w 226"/>
                <a:gd name="T71" fmla="*/ 189 h 224"/>
                <a:gd name="T72" fmla="*/ 792 w 226"/>
                <a:gd name="T73" fmla="*/ 208 h 224"/>
                <a:gd name="T74" fmla="*/ 792 w 226"/>
                <a:gd name="T75" fmla="*/ 230 h 224"/>
                <a:gd name="T76" fmla="*/ 768 w 226"/>
                <a:gd name="T77" fmla="*/ 241 h 224"/>
                <a:gd name="T78" fmla="*/ 741 w 226"/>
                <a:gd name="T79" fmla="*/ 221 h 224"/>
                <a:gd name="T80" fmla="*/ 710 w 226"/>
                <a:gd name="T81" fmla="*/ 208 h 224"/>
                <a:gd name="T82" fmla="*/ 666 w 226"/>
                <a:gd name="T83" fmla="*/ 205 h 224"/>
                <a:gd name="T84" fmla="*/ 627 w 226"/>
                <a:gd name="T85" fmla="*/ 208 h 224"/>
                <a:gd name="T86" fmla="*/ 567 w 226"/>
                <a:gd name="T87" fmla="*/ 205 h 224"/>
                <a:gd name="T88" fmla="*/ 527 w 226"/>
                <a:gd name="T89" fmla="*/ 197 h 224"/>
                <a:gd name="T90" fmla="*/ 481 w 226"/>
                <a:gd name="T91" fmla="*/ 183 h 224"/>
                <a:gd name="T92" fmla="*/ 424 w 226"/>
                <a:gd name="T93" fmla="*/ 189 h 224"/>
                <a:gd name="T94" fmla="*/ 367 w 226"/>
                <a:gd name="T95" fmla="*/ 208 h 224"/>
                <a:gd name="T96" fmla="*/ 325 w 226"/>
                <a:gd name="T97" fmla="*/ 197 h 224"/>
                <a:gd name="T98" fmla="*/ 317 w 226"/>
                <a:gd name="T99" fmla="*/ 241 h 224"/>
                <a:gd name="T100" fmla="*/ 347 w 226"/>
                <a:gd name="T101" fmla="*/ 261 h 224"/>
                <a:gd name="T102" fmla="*/ 382 w 226"/>
                <a:gd name="T103" fmla="*/ 316 h 224"/>
                <a:gd name="T104" fmla="*/ 400 w 226"/>
                <a:gd name="T105" fmla="*/ 342 h 224"/>
                <a:gd name="T106" fmla="*/ 451 w 226"/>
                <a:gd name="T107" fmla="*/ 382 h 224"/>
                <a:gd name="T108" fmla="*/ 512 w 226"/>
                <a:gd name="T109" fmla="*/ 431 h 224"/>
                <a:gd name="T110" fmla="*/ 547 w 226"/>
                <a:gd name="T111" fmla="*/ 466 h 224"/>
                <a:gd name="T112" fmla="*/ 567 w 226"/>
                <a:gd name="T113" fmla="*/ 510 h 224"/>
                <a:gd name="T114" fmla="*/ 610 w 226"/>
                <a:gd name="T115" fmla="*/ 513 h 224"/>
                <a:gd name="T116" fmla="*/ 649 w 226"/>
                <a:gd name="T117" fmla="*/ 537 h 224"/>
                <a:gd name="T118" fmla="*/ 696 w 226"/>
                <a:gd name="T119" fmla="*/ 555 h 224"/>
                <a:gd name="T120" fmla="*/ 710 w 226"/>
                <a:gd name="T121" fmla="*/ 571 h 224"/>
                <a:gd name="T122" fmla="*/ 583 w 226"/>
                <a:gd name="T123" fmla="*/ 517 h 22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26"/>
                <a:gd name="T187" fmla="*/ 0 h 224"/>
                <a:gd name="T188" fmla="*/ 226 w 226"/>
                <a:gd name="T189" fmla="*/ 224 h 22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26" h="224">
                  <a:moveTo>
                    <a:pt x="154" y="194"/>
                  </a:moveTo>
                  <a:lnTo>
                    <a:pt x="136" y="178"/>
                  </a:lnTo>
                  <a:lnTo>
                    <a:pt x="134" y="174"/>
                  </a:lnTo>
                  <a:lnTo>
                    <a:pt x="120" y="170"/>
                  </a:lnTo>
                  <a:lnTo>
                    <a:pt x="116" y="166"/>
                  </a:lnTo>
                  <a:lnTo>
                    <a:pt x="110" y="164"/>
                  </a:lnTo>
                  <a:lnTo>
                    <a:pt x="98" y="168"/>
                  </a:lnTo>
                  <a:lnTo>
                    <a:pt x="92" y="156"/>
                  </a:lnTo>
                  <a:lnTo>
                    <a:pt x="72" y="140"/>
                  </a:lnTo>
                  <a:lnTo>
                    <a:pt x="62" y="124"/>
                  </a:lnTo>
                  <a:lnTo>
                    <a:pt x="68" y="124"/>
                  </a:lnTo>
                  <a:lnTo>
                    <a:pt x="78" y="124"/>
                  </a:lnTo>
                  <a:lnTo>
                    <a:pt x="68" y="120"/>
                  </a:lnTo>
                  <a:lnTo>
                    <a:pt x="56" y="108"/>
                  </a:lnTo>
                  <a:lnTo>
                    <a:pt x="54" y="98"/>
                  </a:lnTo>
                  <a:lnTo>
                    <a:pt x="54" y="88"/>
                  </a:lnTo>
                  <a:lnTo>
                    <a:pt x="50" y="80"/>
                  </a:lnTo>
                  <a:lnTo>
                    <a:pt x="38" y="70"/>
                  </a:lnTo>
                  <a:lnTo>
                    <a:pt x="32" y="66"/>
                  </a:lnTo>
                  <a:lnTo>
                    <a:pt x="28" y="80"/>
                  </a:lnTo>
                  <a:lnTo>
                    <a:pt x="26" y="82"/>
                  </a:lnTo>
                  <a:lnTo>
                    <a:pt x="26" y="86"/>
                  </a:lnTo>
                  <a:lnTo>
                    <a:pt x="20" y="90"/>
                  </a:lnTo>
                  <a:lnTo>
                    <a:pt x="18" y="94"/>
                  </a:lnTo>
                  <a:lnTo>
                    <a:pt x="14" y="96"/>
                  </a:lnTo>
                  <a:lnTo>
                    <a:pt x="6" y="80"/>
                  </a:lnTo>
                  <a:lnTo>
                    <a:pt x="4" y="74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6" y="60"/>
                  </a:lnTo>
                  <a:lnTo>
                    <a:pt x="8" y="60"/>
                  </a:lnTo>
                  <a:lnTo>
                    <a:pt x="10" y="58"/>
                  </a:lnTo>
                  <a:lnTo>
                    <a:pt x="12" y="58"/>
                  </a:lnTo>
                  <a:lnTo>
                    <a:pt x="14" y="58"/>
                  </a:lnTo>
                  <a:lnTo>
                    <a:pt x="16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2" y="58"/>
                  </a:lnTo>
                  <a:lnTo>
                    <a:pt x="24" y="58"/>
                  </a:lnTo>
                  <a:lnTo>
                    <a:pt x="26" y="58"/>
                  </a:lnTo>
                  <a:lnTo>
                    <a:pt x="28" y="56"/>
                  </a:lnTo>
                  <a:lnTo>
                    <a:pt x="30" y="58"/>
                  </a:lnTo>
                  <a:lnTo>
                    <a:pt x="34" y="58"/>
                  </a:lnTo>
                  <a:lnTo>
                    <a:pt x="36" y="56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40" y="50"/>
                  </a:lnTo>
                  <a:lnTo>
                    <a:pt x="40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6" y="56"/>
                  </a:lnTo>
                  <a:lnTo>
                    <a:pt x="48" y="56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2" y="60"/>
                  </a:lnTo>
                  <a:lnTo>
                    <a:pt x="64" y="60"/>
                  </a:lnTo>
                  <a:lnTo>
                    <a:pt x="66" y="60"/>
                  </a:lnTo>
                  <a:lnTo>
                    <a:pt x="68" y="58"/>
                  </a:lnTo>
                  <a:lnTo>
                    <a:pt x="70" y="58"/>
                  </a:lnTo>
                  <a:lnTo>
                    <a:pt x="70" y="56"/>
                  </a:lnTo>
                  <a:lnTo>
                    <a:pt x="70" y="54"/>
                  </a:lnTo>
                  <a:lnTo>
                    <a:pt x="68" y="52"/>
                  </a:lnTo>
                  <a:lnTo>
                    <a:pt x="68" y="50"/>
                  </a:lnTo>
                  <a:lnTo>
                    <a:pt x="70" y="50"/>
                  </a:lnTo>
                  <a:lnTo>
                    <a:pt x="72" y="48"/>
                  </a:lnTo>
                  <a:lnTo>
                    <a:pt x="70" y="46"/>
                  </a:lnTo>
                  <a:lnTo>
                    <a:pt x="68" y="44"/>
                  </a:lnTo>
                  <a:lnTo>
                    <a:pt x="70" y="42"/>
                  </a:lnTo>
                  <a:lnTo>
                    <a:pt x="72" y="42"/>
                  </a:lnTo>
                  <a:lnTo>
                    <a:pt x="72" y="40"/>
                  </a:lnTo>
                  <a:lnTo>
                    <a:pt x="74" y="40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80" y="38"/>
                  </a:lnTo>
                  <a:lnTo>
                    <a:pt x="82" y="38"/>
                  </a:lnTo>
                  <a:lnTo>
                    <a:pt x="84" y="38"/>
                  </a:lnTo>
                  <a:lnTo>
                    <a:pt x="84" y="36"/>
                  </a:lnTo>
                  <a:lnTo>
                    <a:pt x="84" y="34"/>
                  </a:lnTo>
                  <a:lnTo>
                    <a:pt x="84" y="32"/>
                  </a:lnTo>
                  <a:lnTo>
                    <a:pt x="84" y="30"/>
                  </a:lnTo>
                  <a:lnTo>
                    <a:pt x="84" y="28"/>
                  </a:lnTo>
                  <a:lnTo>
                    <a:pt x="84" y="26"/>
                  </a:lnTo>
                  <a:lnTo>
                    <a:pt x="82" y="24"/>
                  </a:lnTo>
                  <a:lnTo>
                    <a:pt x="80" y="24"/>
                  </a:lnTo>
                  <a:lnTo>
                    <a:pt x="80" y="22"/>
                  </a:lnTo>
                  <a:lnTo>
                    <a:pt x="80" y="20"/>
                  </a:lnTo>
                  <a:lnTo>
                    <a:pt x="82" y="18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4" y="12"/>
                  </a:lnTo>
                  <a:lnTo>
                    <a:pt x="96" y="12"/>
                  </a:lnTo>
                  <a:lnTo>
                    <a:pt x="98" y="12"/>
                  </a:lnTo>
                  <a:lnTo>
                    <a:pt x="98" y="10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6" y="2"/>
                  </a:lnTo>
                  <a:lnTo>
                    <a:pt x="120" y="8"/>
                  </a:lnTo>
                  <a:lnTo>
                    <a:pt x="146" y="22"/>
                  </a:lnTo>
                  <a:lnTo>
                    <a:pt x="164" y="40"/>
                  </a:lnTo>
                  <a:lnTo>
                    <a:pt x="174" y="42"/>
                  </a:lnTo>
                  <a:lnTo>
                    <a:pt x="186" y="40"/>
                  </a:lnTo>
                  <a:lnTo>
                    <a:pt x="194" y="40"/>
                  </a:lnTo>
                  <a:lnTo>
                    <a:pt x="204" y="34"/>
                  </a:lnTo>
                  <a:lnTo>
                    <a:pt x="208" y="38"/>
                  </a:lnTo>
                  <a:lnTo>
                    <a:pt x="208" y="40"/>
                  </a:lnTo>
                  <a:lnTo>
                    <a:pt x="208" y="44"/>
                  </a:lnTo>
                  <a:lnTo>
                    <a:pt x="208" y="46"/>
                  </a:lnTo>
                  <a:lnTo>
                    <a:pt x="210" y="48"/>
                  </a:lnTo>
                  <a:lnTo>
                    <a:pt x="208" y="50"/>
                  </a:lnTo>
                  <a:lnTo>
                    <a:pt x="208" y="52"/>
                  </a:lnTo>
                  <a:lnTo>
                    <a:pt x="208" y="54"/>
                  </a:lnTo>
                  <a:lnTo>
                    <a:pt x="210" y="54"/>
                  </a:lnTo>
                  <a:lnTo>
                    <a:pt x="212" y="54"/>
                  </a:lnTo>
                  <a:lnTo>
                    <a:pt x="214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0" y="58"/>
                  </a:lnTo>
                  <a:lnTo>
                    <a:pt x="212" y="60"/>
                  </a:lnTo>
                  <a:lnTo>
                    <a:pt x="210" y="62"/>
                  </a:lnTo>
                  <a:lnTo>
                    <a:pt x="210" y="64"/>
                  </a:lnTo>
                  <a:lnTo>
                    <a:pt x="214" y="64"/>
                  </a:lnTo>
                  <a:lnTo>
                    <a:pt x="214" y="66"/>
                  </a:lnTo>
                  <a:lnTo>
                    <a:pt x="216" y="68"/>
                  </a:lnTo>
                  <a:lnTo>
                    <a:pt x="218" y="68"/>
                  </a:lnTo>
                  <a:lnTo>
                    <a:pt x="220" y="68"/>
                  </a:lnTo>
                  <a:lnTo>
                    <a:pt x="222" y="70"/>
                  </a:lnTo>
                  <a:lnTo>
                    <a:pt x="224" y="70"/>
                  </a:lnTo>
                  <a:lnTo>
                    <a:pt x="226" y="70"/>
                  </a:lnTo>
                  <a:lnTo>
                    <a:pt x="226" y="72"/>
                  </a:lnTo>
                  <a:lnTo>
                    <a:pt x="226" y="74"/>
                  </a:lnTo>
                  <a:lnTo>
                    <a:pt x="224" y="74"/>
                  </a:lnTo>
                  <a:lnTo>
                    <a:pt x="222" y="74"/>
                  </a:lnTo>
                  <a:lnTo>
                    <a:pt x="220" y="74"/>
                  </a:lnTo>
                  <a:lnTo>
                    <a:pt x="218" y="72"/>
                  </a:lnTo>
                  <a:lnTo>
                    <a:pt x="216" y="72"/>
                  </a:lnTo>
                  <a:lnTo>
                    <a:pt x="218" y="74"/>
                  </a:lnTo>
                  <a:lnTo>
                    <a:pt x="216" y="76"/>
                  </a:lnTo>
                  <a:lnTo>
                    <a:pt x="214" y="76"/>
                  </a:lnTo>
                  <a:lnTo>
                    <a:pt x="214" y="80"/>
                  </a:lnTo>
                  <a:lnTo>
                    <a:pt x="216" y="82"/>
                  </a:lnTo>
                  <a:lnTo>
                    <a:pt x="214" y="84"/>
                  </a:lnTo>
                  <a:lnTo>
                    <a:pt x="214" y="86"/>
                  </a:lnTo>
                  <a:lnTo>
                    <a:pt x="216" y="88"/>
                  </a:lnTo>
                  <a:lnTo>
                    <a:pt x="214" y="88"/>
                  </a:lnTo>
                  <a:lnTo>
                    <a:pt x="212" y="88"/>
                  </a:lnTo>
                  <a:lnTo>
                    <a:pt x="210" y="90"/>
                  </a:lnTo>
                  <a:lnTo>
                    <a:pt x="212" y="92"/>
                  </a:lnTo>
                  <a:lnTo>
                    <a:pt x="210" y="92"/>
                  </a:lnTo>
                  <a:lnTo>
                    <a:pt x="208" y="92"/>
                  </a:lnTo>
                  <a:lnTo>
                    <a:pt x="204" y="92"/>
                  </a:lnTo>
                  <a:lnTo>
                    <a:pt x="202" y="88"/>
                  </a:lnTo>
                  <a:lnTo>
                    <a:pt x="202" y="86"/>
                  </a:lnTo>
                  <a:lnTo>
                    <a:pt x="202" y="84"/>
                  </a:lnTo>
                  <a:lnTo>
                    <a:pt x="200" y="84"/>
                  </a:lnTo>
                  <a:lnTo>
                    <a:pt x="200" y="80"/>
                  </a:lnTo>
                  <a:lnTo>
                    <a:pt x="198" y="80"/>
                  </a:lnTo>
                  <a:lnTo>
                    <a:pt x="194" y="78"/>
                  </a:lnTo>
                  <a:lnTo>
                    <a:pt x="192" y="80"/>
                  </a:lnTo>
                  <a:lnTo>
                    <a:pt x="188" y="78"/>
                  </a:lnTo>
                  <a:lnTo>
                    <a:pt x="184" y="78"/>
                  </a:lnTo>
                  <a:lnTo>
                    <a:pt x="182" y="76"/>
                  </a:lnTo>
                  <a:lnTo>
                    <a:pt x="180" y="78"/>
                  </a:lnTo>
                  <a:lnTo>
                    <a:pt x="178" y="80"/>
                  </a:lnTo>
                  <a:lnTo>
                    <a:pt x="176" y="78"/>
                  </a:lnTo>
                  <a:lnTo>
                    <a:pt x="174" y="76"/>
                  </a:lnTo>
                  <a:lnTo>
                    <a:pt x="172" y="76"/>
                  </a:lnTo>
                  <a:lnTo>
                    <a:pt x="170" y="80"/>
                  </a:lnTo>
                  <a:lnTo>
                    <a:pt x="166" y="80"/>
                  </a:lnTo>
                  <a:lnTo>
                    <a:pt x="164" y="80"/>
                  </a:lnTo>
                  <a:lnTo>
                    <a:pt x="160" y="78"/>
                  </a:lnTo>
                  <a:lnTo>
                    <a:pt x="156" y="78"/>
                  </a:lnTo>
                  <a:lnTo>
                    <a:pt x="154" y="78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4" y="74"/>
                  </a:lnTo>
                  <a:lnTo>
                    <a:pt x="144" y="76"/>
                  </a:lnTo>
                  <a:lnTo>
                    <a:pt x="142" y="76"/>
                  </a:lnTo>
                  <a:lnTo>
                    <a:pt x="140" y="74"/>
                  </a:lnTo>
                  <a:lnTo>
                    <a:pt x="136" y="72"/>
                  </a:lnTo>
                  <a:lnTo>
                    <a:pt x="134" y="72"/>
                  </a:lnTo>
                  <a:lnTo>
                    <a:pt x="132" y="70"/>
                  </a:lnTo>
                  <a:lnTo>
                    <a:pt x="130" y="70"/>
                  </a:lnTo>
                  <a:lnTo>
                    <a:pt x="128" y="74"/>
                  </a:lnTo>
                  <a:lnTo>
                    <a:pt x="126" y="72"/>
                  </a:lnTo>
                  <a:lnTo>
                    <a:pt x="122" y="72"/>
                  </a:lnTo>
                  <a:lnTo>
                    <a:pt x="118" y="72"/>
                  </a:lnTo>
                  <a:lnTo>
                    <a:pt x="114" y="72"/>
                  </a:lnTo>
                  <a:lnTo>
                    <a:pt x="114" y="74"/>
                  </a:lnTo>
                  <a:lnTo>
                    <a:pt x="110" y="78"/>
                  </a:lnTo>
                  <a:lnTo>
                    <a:pt x="108" y="84"/>
                  </a:lnTo>
                  <a:lnTo>
                    <a:pt x="106" y="82"/>
                  </a:lnTo>
                  <a:lnTo>
                    <a:pt x="100" y="80"/>
                  </a:lnTo>
                  <a:lnTo>
                    <a:pt x="98" y="74"/>
                  </a:lnTo>
                  <a:lnTo>
                    <a:pt x="96" y="72"/>
                  </a:lnTo>
                  <a:lnTo>
                    <a:pt x="90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6" y="80"/>
                  </a:lnTo>
                  <a:lnTo>
                    <a:pt x="88" y="84"/>
                  </a:lnTo>
                  <a:lnTo>
                    <a:pt x="88" y="86"/>
                  </a:lnTo>
                  <a:lnTo>
                    <a:pt x="88" y="92"/>
                  </a:lnTo>
                  <a:lnTo>
                    <a:pt x="86" y="92"/>
                  </a:lnTo>
                  <a:lnTo>
                    <a:pt x="86" y="94"/>
                  </a:lnTo>
                  <a:lnTo>
                    <a:pt x="88" y="96"/>
                  </a:lnTo>
                  <a:lnTo>
                    <a:pt x="90" y="98"/>
                  </a:lnTo>
                  <a:lnTo>
                    <a:pt x="92" y="100"/>
                  </a:lnTo>
                  <a:lnTo>
                    <a:pt x="94" y="100"/>
                  </a:lnTo>
                  <a:lnTo>
                    <a:pt x="96" y="106"/>
                  </a:lnTo>
                  <a:lnTo>
                    <a:pt x="100" y="110"/>
                  </a:lnTo>
                  <a:lnTo>
                    <a:pt x="102" y="114"/>
                  </a:lnTo>
                  <a:lnTo>
                    <a:pt x="102" y="118"/>
                  </a:lnTo>
                  <a:lnTo>
                    <a:pt x="104" y="120"/>
                  </a:lnTo>
                  <a:lnTo>
                    <a:pt x="102" y="120"/>
                  </a:lnTo>
                  <a:lnTo>
                    <a:pt x="102" y="124"/>
                  </a:lnTo>
                  <a:lnTo>
                    <a:pt x="102" y="126"/>
                  </a:lnTo>
                  <a:lnTo>
                    <a:pt x="106" y="126"/>
                  </a:lnTo>
                  <a:lnTo>
                    <a:pt x="108" y="130"/>
                  </a:lnTo>
                  <a:lnTo>
                    <a:pt x="108" y="132"/>
                  </a:lnTo>
                  <a:lnTo>
                    <a:pt x="110" y="134"/>
                  </a:lnTo>
                  <a:lnTo>
                    <a:pt x="114" y="136"/>
                  </a:lnTo>
                  <a:lnTo>
                    <a:pt x="116" y="136"/>
                  </a:lnTo>
                  <a:lnTo>
                    <a:pt x="122" y="146"/>
                  </a:lnTo>
                  <a:lnTo>
                    <a:pt x="122" y="150"/>
                  </a:lnTo>
                  <a:lnTo>
                    <a:pt x="124" y="150"/>
                  </a:lnTo>
                  <a:lnTo>
                    <a:pt x="128" y="152"/>
                  </a:lnTo>
                  <a:lnTo>
                    <a:pt x="134" y="160"/>
                  </a:lnTo>
                  <a:lnTo>
                    <a:pt x="138" y="164"/>
                  </a:lnTo>
                  <a:lnTo>
                    <a:pt x="142" y="166"/>
                  </a:lnTo>
                  <a:lnTo>
                    <a:pt x="144" y="166"/>
                  </a:lnTo>
                  <a:lnTo>
                    <a:pt x="144" y="170"/>
                  </a:lnTo>
                  <a:lnTo>
                    <a:pt x="146" y="176"/>
                  </a:lnTo>
                  <a:lnTo>
                    <a:pt x="148" y="178"/>
                  </a:lnTo>
                  <a:lnTo>
                    <a:pt x="152" y="182"/>
                  </a:lnTo>
                  <a:lnTo>
                    <a:pt x="154" y="184"/>
                  </a:lnTo>
                  <a:lnTo>
                    <a:pt x="158" y="188"/>
                  </a:lnTo>
                  <a:lnTo>
                    <a:pt x="160" y="192"/>
                  </a:lnTo>
                  <a:lnTo>
                    <a:pt x="154" y="194"/>
                  </a:lnTo>
                  <a:close/>
                  <a:moveTo>
                    <a:pt x="158" y="198"/>
                  </a:moveTo>
                  <a:lnTo>
                    <a:pt x="162" y="194"/>
                  </a:lnTo>
                  <a:lnTo>
                    <a:pt x="166" y="196"/>
                  </a:lnTo>
                  <a:lnTo>
                    <a:pt x="166" y="198"/>
                  </a:lnTo>
                  <a:lnTo>
                    <a:pt x="168" y="200"/>
                  </a:lnTo>
                  <a:lnTo>
                    <a:pt x="170" y="202"/>
                  </a:lnTo>
                  <a:lnTo>
                    <a:pt x="174" y="204"/>
                  </a:lnTo>
                  <a:lnTo>
                    <a:pt x="176" y="204"/>
                  </a:lnTo>
                  <a:lnTo>
                    <a:pt x="182" y="210"/>
                  </a:lnTo>
                  <a:lnTo>
                    <a:pt x="182" y="212"/>
                  </a:lnTo>
                  <a:lnTo>
                    <a:pt x="186" y="210"/>
                  </a:lnTo>
                  <a:lnTo>
                    <a:pt x="186" y="212"/>
                  </a:lnTo>
                  <a:lnTo>
                    <a:pt x="188" y="212"/>
                  </a:lnTo>
                  <a:lnTo>
                    <a:pt x="190" y="214"/>
                  </a:lnTo>
                  <a:lnTo>
                    <a:pt x="190" y="216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2"/>
                  </a:lnTo>
                  <a:lnTo>
                    <a:pt x="192" y="224"/>
                  </a:lnTo>
                  <a:lnTo>
                    <a:pt x="182" y="214"/>
                  </a:lnTo>
                  <a:lnTo>
                    <a:pt x="172" y="206"/>
                  </a:lnTo>
                  <a:lnTo>
                    <a:pt x="158" y="19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1">
              <a:extLst>
                <a:ext uri="{FF2B5EF4-FFF2-40B4-BE49-F238E27FC236}">
                  <a16:creationId xmlns:a16="http://schemas.microsoft.com/office/drawing/2014/main" id="{2A278AC5-BE8D-4890-A138-873DC99630D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2738" y="4976813"/>
              <a:ext cx="246062" cy="223837"/>
            </a:xfrm>
            <a:custGeom>
              <a:avLst/>
              <a:gdLst>
                <a:gd name="T0" fmla="*/ 257 w 148"/>
                <a:gd name="T1" fmla="*/ 325 h 144"/>
                <a:gd name="T2" fmla="*/ 257 w 148"/>
                <a:gd name="T3" fmla="*/ 297 h 144"/>
                <a:gd name="T4" fmla="*/ 229 w 148"/>
                <a:gd name="T5" fmla="*/ 277 h 144"/>
                <a:gd name="T6" fmla="*/ 214 w 148"/>
                <a:gd name="T7" fmla="*/ 252 h 144"/>
                <a:gd name="T8" fmla="*/ 157 w 148"/>
                <a:gd name="T9" fmla="*/ 215 h 144"/>
                <a:gd name="T10" fmla="*/ 137 w 148"/>
                <a:gd name="T11" fmla="*/ 197 h 144"/>
                <a:gd name="T12" fmla="*/ 89 w 148"/>
                <a:gd name="T13" fmla="*/ 167 h 144"/>
                <a:gd name="T14" fmla="*/ 76 w 148"/>
                <a:gd name="T15" fmla="*/ 146 h 144"/>
                <a:gd name="T16" fmla="*/ 61 w 148"/>
                <a:gd name="T17" fmla="*/ 130 h 144"/>
                <a:gd name="T18" fmla="*/ 61 w 148"/>
                <a:gd name="T19" fmla="*/ 117 h 144"/>
                <a:gd name="T20" fmla="*/ 30 w 148"/>
                <a:gd name="T21" fmla="*/ 77 h 144"/>
                <a:gd name="T22" fmla="*/ 9 w 148"/>
                <a:gd name="T23" fmla="*/ 68 h 144"/>
                <a:gd name="T24" fmla="*/ 9 w 148"/>
                <a:gd name="T25" fmla="*/ 58 h 144"/>
                <a:gd name="T26" fmla="*/ 0 w 148"/>
                <a:gd name="T27" fmla="*/ 26 h 144"/>
                <a:gd name="T28" fmla="*/ 14 w 148"/>
                <a:gd name="T29" fmla="*/ 2 h 144"/>
                <a:gd name="T30" fmla="*/ 50 w 148"/>
                <a:gd name="T31" fmla="*/ 26 h 144"/>
                <a:gd name="T32" fmla="*/ 89 w 148"/>
                <a:gd name="T33" fmla="*/ 21 h 144"/>
                <a:gd name="T34" fmla="*/ 120 w 148"/>
                <a:gd name="T35" fmla="*/ 2 h 144"/>
                <a:gd name="T36" fmla="*/ 157 w 148"/>
                <a:gd name="T37" fmla="*/ 11 h 144"/>
                <a:gd name="T38" fmla="*/ 183 w 148"/>
                <a:gd name="T39" fmla="*/ 2 h 144"/>
                <a:gd name="T40" fmla="*/ 214 w 148"/>
                <a:gd name="T41" fmla="*/ 15 h 144"/>
                <a:gd name="T42" fmla="*/ 234 w 148"/>
                <a:gd name="T43" fmla="*/ 15 h 144"/>
                <a:gd name="T44" fmla="*/ 267 w 148"/>
                <a:gd name="T45" fmla="*/ 21 h 144"/>
                <a:gd name="T46" fmla="*/ 305 w 148"/>
                <a:gd name="T47" fmla="*/ 26 h 144"/>
                <a:gd name="T48" fmla="*/ 334 w 148"/>
                <a:gd name="T49" fmla="*/ 15 h 144"/>
                <a:gd name="T50" fmla="*/ 358 w 148"/>
                <a:gd name="T51" fmla="*/ 21 h 144"/>
                <a:gd name="T52" fmla="*/ 389 w 148"/>
                <a:gd name="T53" fmla="*/ 21 h 144"/>
                <a:gd name="T54" fmla="*/ 401 w 148"/>
                <a:gd name="T55" fmla="*/ 26 h 144"/>
                <a:gd name="T56" fmla="*/ 432 w 148"/>
                <a:gd name="T57" fmla="*/ 26 h 144"/>
                <a:gd name="T58" fmla="*/ 441 w 148"/>
                <a:gd name="T59" fmla="*/ 42 h 144"/>
                <a:gd name="T60" fmla="*/ 462 w 148"/>
                <a:gd name="T61" fmla="*/ 58 h 144"/>
                <a:gd name="T62" fmla="*/ 499 w 148"/>
                <a:gd name="T63" fmla="*/ 47 h 144"/>
                <a:gd name="T64" fmla="*/ 527 w 148"/>
                <a:gd name="T65" fmla="*/ 53 h 144"/>
                <a:gd name="T66" fmla="*/ 517 w 148"/>
                <a:gd name="T67" fmla="*/ 74 h 144"/>
                <a:gd name="T68" fmla="*/ 499 w 148"/>
                <a:gd name="T69" fmla="*/ 101 h 144"/>
                <a:gd name="T70" fmla="*/ 499 w 148"/>
                <a:gd name="T71" fmla="*/ 117 h 144"/>
                <a:gd name="T72" fmla="*/ 499 w 148"/>
                <a:gd name="T73" fmla="*/ 137 h 144"/>
                <a:gd name="T74" fmla="*/ 527 w 148"/>
                <a:gd name="T75" fmla="*/ 146 h 144"/>
                <a:gd name="T76" fmla="*/ 549 w 148"/>
                <a:gd name="T77" fmla="*/ 164 h 144"/>
                <a:gd name="T78" fmla="*/ 564 w 148"/>
                <a:gd name="T79" fmla="*/ 171 h 144"/>
                <a:gd name="T80" fmla="*/ 549 w 148"/>
                <a:gd name="T81" fmla="*/ 183 h 144"/>
                <a:gd name="T82" fmla="*/ 517 w 148"/>
                <a:gd name="T83" fmla="*/ 177 h 144"/>
                <a:gd name="T84" fmla="*/ 527 w 148"/>
                <a:gd name="T85" fmla="*/ 194 h 144"/>
                <a:gd name="T86" fmla="*/ 549 w 148"/>
                <a:gd name="T87" fmla="*/ 225 h 144"/>
                <a:gd name="T88" fmla="*/ 540 w 148"/>
                <a:gd name="T89" fmla="*/ 236 h 144"/>
                <a:gd name="T90" fmla="*/ 527 w 148"/>
                <a:gd name="T91" fmla="*/ 230 h 144"/>
                <a:gd name="T92" fmla="*/ 501 w 148"/>
                <a:gd name="T93" fmla="*/ 241 h 144"/>
                <a:gd name="T94" fmla="*/ 477 w 148"/>
                <a:gd name="T95" fmla="*/ 241 h 144"/>
                <a:gd name="T96" fmla="*/ 471 w 148"/>
                <a:gd name="T97" fmla="*/ 252 h 144"/>
                <a:gd name="T98" fmla="*/ 487 w 148"/>
                <a:gd name="T99" fmla="*/ 271 h 144"/>
                <a:gd name="T100" fmla="*/ 471 w 148"/>
                <a:gd name="T101" fmla="*/ 277 h 144"/>
                <a:gd name="T102" fmla="*/ 456 w 148"/>
                <a:gd name="T103" fmla="*/ 268 h 144"/>
                <a:gd name="T104" fmla="*/ 432 w 148"/>
                <a:gd name="T105" fmla="*/ 283 h 144"/>
                <a:gd name="T106" fmla="*/ 429 w 148"/>
                <a:gd name="T107" fmla="*/ 297 h 144"/>
                <a:gd name="T108" fmla="*/ 412 w 148"/>
                <a:gd name="T109" fmla="*/ 307 h 144"/>
                <a:gd name="T110" fmla="*/ 399 w 148"/>
                <a:gd name="T111" fmla="*/ 325 h 144"/>
                <a:gd name="T112" fmla="*/ 401 w 148"/>
                <a:gd name="T113" fmla="*/ 346 h 144"/>
                <a:gd name="T114" fmla="*/ 412 w 148"/>
                <a:gd name="T115" fmla="*/ 360 h 144"/>
                <a:gd name="T116" fmla="*/ 389 w 148"/>
                <a:gd name="T117" fmla="*/ 372 h 144"/>
                <a:gd name="T118" fmla="*/ 365 w 148"/>
                <a:gd name="T119" fmla="*/ 372 h 144"/>
                <a:gd name="T120" fmla="*/ 334 w 148"/>
                <a:gd name="T121" fmla="*/ 349 h 144"/>
                <a:gd name="T122" fmla="*/ 305 w 148"/>
                <a:gd name="T123" fmla="*/ 334 h 144"/>
                <a:gd name="T124" fmla="*/ 290 w 148"/>
                <a:gd name="T125" fmla="*/ 325 h 1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48"/>
                <a:gd name="T190" fmla="*/ 0 h 144"/>
                <a:gd name="T191" fmla="*/ 148 w 148"/>
                <a:gd name="T192" fmla="*/ 144 h 1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48" h="144">
                  <a:moveTo>
                    <a:pt x="72" y="128"/>
                  </a:moveTo>
                  <a:lnTo>
                    <a:pt x="70" y="126"/>
                  </a:lnTo>
                  <a:lnTo>
                    <a:pt x="68" y="124"/>
                  </a:lnTo>
                  <a:lnTo>
                    <a:pt x="74" y="122"/>
                  </a:lnTo>
                  <a:lnTo>
                    <a:pt x="72" y="118"/>
                  </a:lnTo>
                  <a:lnTo>
                    <a:pt x="68" y="114"/>
                  </a:lnTo>
                  <a:lnTo>
                    <a:pt x="66" y="112"/>
                  </a:lnTo>
                  <a:lnTo>
                    <a:pt x="62" y="108"/>
                  </a:lnTo>
                  <a:lnTo>
                    <a:pt x="60" y="106"/>
                  </a:lnTo>
                  <a:lnTo>
                    <a:pt x="58" y="100"/>
                  </a:lnTo>
                  <a:lnTo>
                    <a:pt x="58" y="96"/>
                  </a:lnTo>
                  <a:lnTo>
                    <a:pt x="56" y="96"/>
                  </a:lnTo>
                  <a:lnTo>
                    <a:pt x="52" y="94"/>
                  </a:lnTo>
                  <a:lnTo>
                    <a:pt x="48" y="90"/>
                  </a:lnTo>
                  <a:lnTo>
                    <a:pt x="42" y="82"/>
                  </a:lnTo>
                  <a:lnTo>
                    <a:pt x="38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0" y="66"/>
                  </a:lnTo>
                  <a:lnTo>
                    <a:pt x="28" y="66"/>
                  </a:lnTo>
                  <a:lnTo>
                    <a:pt x="24" y="64"/>
                  </a:lnTo>
                  <a:lnTo>
                    <a:pt x="22" y="62"/>
                  </a:lnTo>
                  <a:lnTo>
                    <a:pt x="22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4" y="40"/>
                  </a:lnTo>
                  <a:lnTo>
                    <a:pt x="10" y="36"/>
                  </a:lnTo>
                  <a:lnTo>
                    <a:pt x="8" y="30"/>
                  </a:lnTo>
                  <a:lnTo>
                    <a:pt x="6" y="30"/>
                  </a:lnTo>
                  <a:lnTo>
                    <a:pt x="4" y="28"/>
                  </a:lnTo>
                  <a:lnTo>
                    <a:pt x="2" y="26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4" y="2"/>
                  </a:lnTo>
                  <a:lnTo>
                    <a:pt x="10" y="2"/>
                  </a:lnTo>
                  <a:lnTo>
                    <a:pt x="12" y="4"/>
                  </a:lnTo>
                  <a:lnTo>
                    <a:pt x="14" y="10"/>
                  </a:lnTo>
                  <a:lnTo>
                    <a:pt x="20" y="12"/>
                  </a:lnTo>
                  <a:lnTo>
                    <a:pt x="22" y="14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8" y="8"/>
                  </a:lnTo>
                  <a:lnTo>
                    <a:pt x="70" y="8"/>
                  </a:lnTo>
                  <a:lnTo>
                    <a:pt x="74" y="8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4" y="10"/>
                  </a:lnTo>
                  <a:lnTo>
                    <a:pt x="86" y="6"/>
                  </a:lnTo>
                  <a:lnTo>
                    <a:pt x="88" y="6"/>
                  </a:lnTo>
                  <a:lnTo>
                    <a:pt x="90" y="8"/>
                  </a:lnTo>
                  <a:lnTo>
                    <a:pt x="92" y="10"/>
                  </a:lnTo>
                  <a:lnTo>
                    <a:pt x="94" y="8"/>
                  </a:lnTo>
                  <a:lnTo>
                    <a:pt x="96" y="6"/>
                  </a:lnTo>
                  <a:lnTo>
                    <a:pt x="98" y="8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8" y="8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4"/>
                  </a:lnTo>
                  <a:lnTo>
                    <a:pt x="116" y="14"/>
                  </a:lnTo>
                  <a:lnTo>
                    <a:pt x="116" y="16"/>
                  </a:lnTo>
                  <a:lnTo>
                    <a:pt x="116" y="18"/>
                  </a:lnTo>
                  <a:lnTo>
                    <a:pt x="118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6" y="22"/>
                  </a:lnTo>
                  <a:lnTo>
                    <a:pt x="130" y="18"/>
                  </a:lnTo>
                  <a:lnTo>
                    <a:pt x="132" y="18"/>
                  </a:lnTo>
                  <a:lnTo>
                    <a:pt x="136" y="18"/>
                  </a:lnTo>
                  <a:lnTo>
                    <a:pt x="138" y="20"/>
                  </a:lnTo>
                  <a:lnTo>
                    <a:pt x="138" y="24"/>
                  </a:lnTo>
                  <a:lnTo>
                    <a:pt x="136" y="28"/>
                  </a:lnTo>
                  <a:lnTo>
                    <a:pt x="134" y="32"/>
                  </a:lnTo>
                  <a:lnTo>
                    <a:pt x="132" y="36"/>
                  </a:lnTo>
                  <a:lnTo>
                    <a:pt x="130" y="38"/>
                  </a:lnTo>
                  <a:lnTo>
                    <a:pt x="130" y="40"/>
                  </a:lnTo>
                  <a:lnTo>
                    <a:pt x="130" y="42"/>
                  </a:lnTo>
                  <a:lnTo>
                    <a:pt x="130" y="44"/>
                  </a:lnTo>
                  <a:lnTo>
                    <a:pt x="128" y="46"/>
                  </a:lnTo>
                  <a:lnTo>
                    <a:pt x="128" y="50"/>
                  </a:lnTo>
                  <a:lnTo>
                    <a:pt x="130" y="52"/>
                  </a:lnTo>
                  <a:lnTo>
                    <a:pt x="134" y="54"/>
                  </a:lnTo>
                  <a:lnTo>
                    <a:pt x="136" y="52"/>
                  </a:lnTo>
                  <a:lnTo>
                    <a:pt x="138" y="56"/>
                  </a:lnTo>
                  <a:lnTo>
                    <a:pt x="138" y="58"/>
                  </a:lnTo>
                  <a:lnTo>
                    <a:pt x="140" y="60"/>
                  </a:lnTo>
                  <a:lnTo>
                    <a:pt x="144" y="62"/>
                  </a:lnTo>
                  <a:lnTo>
                    <a:pt x="144" y="64"/>
                  </a:lnTo>
                  <a:lnTo>
                    <a:pt x="148" y="64"/>
                  </a:lnTo>
                  <a:lnTo>
                    <a:pt x="148" y="66"/>
                  </a:lnTo>
                  <a:lnTo>
                    <a:pt x="148" y="68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0" y="70"/>
                  </a:lnTo>
                  <a:lnTo>
                    <a:pt x="136" y="68"/>
                  </a:lnTo>
                  <a:lnTo>
                    <a:pt x="134" y="68"/>
                  </a:lnTo>
                  <a:lnTo>
                    <a:pt x="136" y="70"/>
                  </a:lnTo>
                  <a:lnTo>
                    <a:pt x="138" y="74"/>
                  </a:lnTo>
                  <a:lnTo>
                    <a:pt x="142" y="78"/>
                  </a:lnTo>
                  <a:lnTo>
                    <a:pt x="144" y="82"/>
                  </a:lnTo>
                  <a:lnTo>
                    <a:pt x="144" y="86"/>
                  </a:lnTo>
                  <a:lnTo>
                    <a:pt x="144" y="90"/>
                  </a:lnTo>
                  <a:lnTo>
                    <a:pt x="142" y="90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6" y="90"/>
                  </a:lnTo>
                  <a:lnTo>
                    <a:pt x="134" y="94"/>
                  </a:lnTo>
                  <a:lnTo>
                    <a:pt x="132" y="92"/>
                  </a:lnTo>
                  <a:lnTo>
                    <a:pt x="130" y="94"/>
                  </a:lnTo>
                  <a:lnTo>
                    <a:pt x="128" y="94"/>
                  </a:lnTo>
                  <a:lnTo>
                    <a:pt x="126" y="92"/>
                  </a:lnTo>
                  <a:lnTo>
                    <a:pt x="124" y="94"/>
                  </a:lnTo>
                  <a:lnTo>
                    <a:pt x="124" y="96"/>
                  </a:lnTo>
                  <a:lnTo>
                    <a:pt x="124" y="98"/>
                  </a:lnTo>
                  <a:lnTo>
                    <a:pt x="126" y="102"/>
                  </a:lnTo>
                  <a:lnTo>
                    <a:pt x="128" y="104"/>
                  </a:lnTo>
                  <a:lnTo>
                    <a:pt x="126" y="108"/>
                  </a:lnTo>
                  <a:lnTo>
                    <a:pt x="124" y="108"/>
                  </a:lnTo>
                  <a:lnTo>
                    <a:pt x="124" y="106"/>
                  </a:lnTo>
                  <a:lnTo>
                    <a:pt x="122" y="104"/>
                  </a:lnTo>
                  <a:lnTo>
                    <a:pt x="122" y="102"/>
                  </a:lnTo>
                  <a:lnTo>
                    <a:pt x="120" y="102"/>
                  </a:lnTo>
                  <a:lnTo>
                    <a:pt x="118" y="104"/>
                  </a:lnTo>
                  <a:lnTo>
                    <a:pt x="114" y="106"/>
                  </a:lnTo>
                  <a:lnTo>
                    <a:pt x="114" y="108"/>
                  </a:lnTo>
                  <a:lnTo>
                    <a:pt x="112" y="110"/>
                  </a:lnTo>
                  <a:lnTo>
                    <a:pt x="112" y="112"/>
                  </a:lnTo>
                  <a:lnTo>
                    <a:pt x="112" y="114"/>
                  </a:lnTo>
                  <a:lnTo>
                    <a:pt x="112" y="118"/>
                  </a:lnTo>
                  <a:lnTo>
                    <a:pt x="110" y="118"/>
                  </a:lnTo>
                  <a:lnTo>
                    <a:pt x="108" y="118"/>
                  </a:lnTo>
                  <a:lnTo>
                    <a:pt x="106" y="120"/>
                  </a:lnTo>
                  <a:lnTo>
                    <a:pt x="104" y="122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30"/>
                  </a:lnTo>
                  <a:lnTo>
                    <a:pt x="106" y="132"/>
                  </a:lnTo>
                  <a:lnTo>
                    <a:pt x="106" y="134"/>
                  </a:lnTo>
                  <a:lnTo>
                    <a:pt x="108" y="136"/>
                  </a:lnTo>
                  <a:lnTo>
                    <a:pt x="108" y="138"/>
                  </a:lnTo>
                  <a:lnTo>
                    <a:pt x="106" y="140"/>
                  </a:lnTo>
                  <a:lnTo>
                    <a:pt x="104" y="144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0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84" y="132"/>
                  </a:lnTo>
                  <a:lnTo>
                    <a:pt x="82" y="130"/>
                  </a:lnTo>
                  <a:lnTo>
                    <a:pt x="80" y="128"/>
                  </a:lnTo>
                  <a:lnTo>
                    <a:pt x="80" y="126"/>
                  </a:lnTo>
                  <a:lnTo>
                    <a:pt x="76" y="124"/>
                  </a:lnTo>
                  <a:lnTo>
                    <a:pt x="72" y="12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2">
              <a:extLst>
                <a:ext uri="{FF2B5EF4-FFF2-40B4-BE49-F238E27FC236}">
                  <a16:creationId xmlns:a16="http://schemas.microsoft.com/office/drawing/2014/main" id="{B53E324C-C8B5-4D44-AD23-827BCC94CC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9138" y="4329113"/>
              <a:ext cx="1146175" cy="711200"/>
            </a:xfrm>
            <a:custGeom>
              <a:avLst/>
              <a:gdLst>
                <a:gd name="T0" fmla="*/ 322 w 692"/>
                <a:gd name="T1" fmla="*/ 110 h 458"/>
                <a:gd name="T2" fmla="*/ 499 w 692"/>
                <a:gd name="T3" fmla="*/ 78 h 458"/>
                <a:gd name="T4" fmla="*/ 716 w 692"/>
                <a:gd name="T5" fmla="*/ 110 h 458"/>
                <a:gd name="T6" fmla="*/ 821 w 692"/>
                <a:gd name="T7" fmla="*/ 132 h 458"/>
                <a:gd name="T8" fmla="*/ 890 w 692"/>
                <a:gd name="T9" fmla="*/ 127 h 458"/>
                <a:gd name="T10" fmla="*/ 982 w 692"/>
                <a:gd name="T11" fmla="*/ 149 h 458"/>
                <a:gd name="T12" fmla="*/ 1060 w 692"/>
                <a:gd name="T13" fmla="*/ 167 h 458"/>
                <a:gd name="T14" fmla="*/ 1183 w 692"/>
                <a:gd name="T15" fmla="*/ 152 h 458"/>
                <a:gd name="T16" fmla="*/ 1229 w 692"/>
                <a:gd name="T17" fmla="*/ 141 h 458"/>
                <a:gd name="T18" fmla="*/ 1328 w 692"/>
                <a:gd name="T19" fmla="*/ 58 h 458"/>
                <a:gd name="T20" fmla="*/ 1513 w 692"/>
                <a:gd name="T21" fmla="*/ 21 h 458"/>
                <a:gd name="T22" fmla="*/ 1755 w 692"/>
                <a:gd name="T23" fmla="*/ 31 h 458"/>
                <a:gd name="T24" fmla="*/ 1775 w 692"/>
                <a:gd name="T25" fmla="*/ 141 h 458"/>
                <a:gd name="T26" fmla="*/ 1942 w 692"/>
                <a:gd name="T27" fmla="*/ 215 h 458"/>
                <a:gd name="T28" fmla="*/ 2012 w 692"/>
                <a:gd name="T29" fmla="*/ 318 h 458"/>
                <a:gd name="T30" fmla="*/ 2184 w 692"/>
                <a:gd name="T31" fmla="*/ 335 h 458"/>
                <a:gd name="T32" fmla="*/ 2294 w 692"/>
                <a:gd name="T33" fmla="*/ 379 h 458"/>
                <a:gd name="T34" fmla="*/ 2432 w 692"/>
                <a:gd name="T35" fmla="*/ 401 h 458"/>
                <a:gd name="T36" fmla="*/ 2603 w 692"/>
                <a:gd name="T37" fmla="*/ 457 h 458"/>
                <a:gd name="T38" fmla="*/ 2659 w 692"/>
                <a:gd name="T39" fmla="*/ 495 h 458"/>
                <a:gd name="T40" fmla="*/ 2634 w 692"/>
                <a:gd name="T41" fmla="*/ 563 h 458"/>
                <a:gd name="T42" fmla="*/ 2612 w 692"/>
                <a:gd name="T43" fmla="*/ 619 h 458"/>
                <a:gd name="T44" fmla="*/ 2527 w 692"/>
                <a:gd name="T45" fmla="*/ 708 h 458"/>
                <a:gd name="T46" fmla="*/ 2371 w 692"/>
                <a:gd name="T47" fmla="*/ 787 h 458"/>
                <a:gd name="T48" fmla="*/ 2097 w 692"/>
                <a:gd name="T49" fmla="*/ 875 h 458"/>
                <a:gd name="T50" fmla="*/ 1831 w 692"/>
                <a:gd name="T51" fmla="*/ 949 h 458"/>
                <a:gd name="T52" fmla="*/ 1951 w 692"/>
                <a:gd name="T53" fmla="*/ 1088 h 458"/>
                <a:gd name="T54" fmla="*/ 2050 w 692"/>
                <a:gd name="T55" fmla="*/ 1130 h 458"/>
                <a:gd name="T56" fmla="*/ 1755 w 692"/>
                <a:gd name="T57" fmla="*/ 1203 h 458"/>
                <a:gd name="T58" fmla="*/ 1552 w 692"/>
                <a:gd name="T59" fmla="*/ 1077 h 458"/>
                <a:gd name="T60" fmla="*/ 1651 w 692"/>
                <a:gd name="T61" fmla="*/ 966 h 458"/>
                <a:gd name="T62" fmla="*/ 1432 w 692"/>
                <a:gd name="T63" fmla="*/ 887 h 458"/>
                <a:gd name="T64" fmla="*/ 1090 w 692"/>
                <a:gd name="T65" fmla="*/ 1056 h 458"/>
                <a:gd name="T66" fmla="*/ 915 w 692"/>
                <a:gd name="T67" fmla="*/ 1083 h 458"/>
                <a:gd name="T68" fmla="*/ 945 w 692"/>
                <a:gd name="T69" fmla="*/ 1056 h 458"/>
                <a:gd name="T70" fmla="*/ 966 w 692"/>
                <a:gd name="T71" fmla="*/ 1021 h 458"/>
                <a:gd name="T72" fmla="*/ 1005 w 692"/>
                <a:gd name="T73" fmla="*/ 977 h 458"/>
                <a:gd name="T74" fmla="*/ 1014 w 692"/>
                <a:gd name="T75" fmla="*/ 919 h 458"/>
                <a:gd name="T76" fmla="*/ 1052 w 692"/>
                <a:gd name="T77" fmla="*/ 930 h 458"/>
                <a:gd name="T78" fmla="*/ 1090 w 692"/>
                <a:gd name="T79" fmla="*/ 930 h 458"/>
                <a:gd name="T80" fmla="*/ 1131 w 692"/>
                <a:gd name="T81" fmla="*/ 941 h 458"/>
                <a:gd name="T82" fmla="*/ 1169 w 692"/>
                <a:gd name="T83" fmla="*/ 930 h 458"/>
                <a:gd name="T84" fmla="*/ 1151 w 692"/>
                <a:gd name="T85" fmla="*/ 883 h 458"/>
                <a:gd name="T86" fmla="*/ 1100 w 692"/>
                <a:gd name="T87" fmla="*/ 842 h 458"/>
                <a:gd name="T88" fmla="*/ 1100 w 692"/>
                <a:gd name="T89" fmla="*/ 798 h 458"/>
                <a:gd name="T90" fmla="*/ 1036 w 692"/>
                <a:gd name="T91" fmla="*/ 779 h 458"/>
                <a:gd name="T92" fmla="*/ 1052 w 692"/>
                <a:gd name="T93" fmla="*/ 717 h 458"/>
                <a:gd name="T94" fmla="*/ 991 w 692"/>
                <a:gd name="T95" fmla="*/ 688 h 458"/>
                <a:gd name="T96" fmla="*/ 920 w 692"/>
                <a:gd name="T97" fmla="*/ 674 h 458"/>
                <a:gd name="T98" fmla="*/ 884 w 692"/>
                <a:gd name="T99" fmla="*/ 663 h 458"/>
                <a:gd name="T100" fmla="*/ 821 w 692"/>
                <a:gd name="T101" fmla="*/ 625 h 458"/>
                <a:gd name="T102" fmla="*/ 761 w 692"/>
                <a:gd name="T103" fmla="*/ 631 h 458"/>
                <a:gd name="T104" fmla="*/ 685 w 692"/>
                <a:gd name="T105" fmla="*/ 646 h 458"/>
                <a:gd name="T106" fmla="*/ 444 w 692"/>
                <a:gd name="T107" fmla="*/ 720 h 458"/>
                <a:gd name="T108" fmla="*/ 217 w 692"/>
                <a:gd name="T109" fmla="*/ 688 h 458"/>
                <a:gd name="T110" fmla="*/ 70 w 692"/>
                <a:gd name="T111" fmla="*/ 530 h 458"/>
                <a:gd name="T112" fmla="*/ 275 w 692"/>
                <a:gd name="T113" fmla="*/ 316 h 458"/>
                <a:gd name="T114" fmla="*/ 232 w 692"/>
                <a:gd name="T115" fmla="*/ 152 h 45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458"/>
                <a:gd name="T176" fmla="*/ 692 w 692"/>
                <a:gd name="T177" fmla="*/ 458 h 45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458">
                  <a:moveTo>
                    <a:pt x="56" y="52"/>
                  </a:moveTo>
                  <a:lnTo>
                    <a:pt x="56" y="52"/>
                  </a:lnTo>
                  <a:lnTo>
                    <a:pt x="5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0" y="52"/>
                  </a:lnTo>
                  <a:lnTo>
                    <a:pt x="76" y="46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88" y="32"/>
                  </a:lnTo>
                  <a:lnTo>
                    <a:pt x="96" y="30"/>
                  </a:lnTo>
                  <a:lnTo>
                    <a:pt x="104" y="32"/>
                  </a:lnTo>
                  <a:lnTo>
                    <a:pt x="110" y="30"/>
                  </a:lnTo>
                  <a:lnTo>
                    <a:pt x="116" y="28"/>
                  </a:lnTo>
                  <a:lnTo>
                    <a:pt x="122" y="30"/>
                  </a:lnTo>
                  <a:lnTo>
                    <a:pt x="130" y="30"/>
                  </a:lnTo>
                  <a:lnTo>
                    <a:pt x="138" y="28"/>
                  </a:lnTo>
                  <a:lnTo>
                    <a:pt x="148" y="30"/>
                  </a:lnTo>
                  <a:lnTo>
                    <a:pt x="152" y="30"/>
                  </a:lnTo>
                  <a:lnTo>
                    <a:pt x="156" y="34"/>
                  </a:lnTo>
                  <a:lnTo>
                    <a:pt x="166" y="34"/>
                  </a:lnTo>
                  <a:lnTo>
                    <a:pt x="166" y="36"/>
                  </a:lnTo>
                  <a:lnTo>
                    <a:pt x="176" y="38"/>
                  </a:lnTo>
                  <a:lnTo>
                    <a:pt x="186" y="42"/>
                  </a:lnTo>
                  <a:lnTo>
                    <a:pt x="190" y="40"/>
                  </a:lnTo>
                  <a:lnTo>
                    <a:pt x="194" y="40"/>
                  </a:lnTo>
                  <a:lnTo>
                    <a:pt x="194" y="46"/>
                  </a:lnTo>
                  <a:lnTo>
                    <a:pt x="198" y="46"/>
                  </a:lnTo>
                  <a:lnTo>
                    <a:pt x="198" y="50"/>
                  </a:lnTo>
                  <a:lnTo>
                    <a:pt x="206" y="48"/>
                  </a:lnTo>
                  <a:lnTo>
                    <a:pt x="210" y="48"/>
                  </a:lnTo>
                  <a:lnTo>
                    <a:pt x="214" y="50"/>
                  </a:lnTo>
                  <a:lnTo>
                    <a:pt x="214" y="56"/>
                  </a:lnTo>
                  <a:lnTo>
                    <a:pt x="214" y="58"/>
                  </a:lnTo>
                  <a:lnTo>
                    <a:pt x="218" y="56"/>
                  </a:lnTo>
                  <a:lnTo>
                    <a:pt x="218" y="50"/>
                  </a:lnTo>
                  <a:lnTo>
                    <a:pt x="220" y="50"/>
                  </a:lnTo>
                  <a:lnTo>
                    <a:pt x="224" y="52"/>
                  </a:lnTo>
                  <a:lnTo>
                    <a:pt x="230" y="52"/>
                  </a:lnTo>
                  <a:lnTo>
                    <a:pt x="232" y="48"/>
                  </a:lnTo>
                  <a:lnTo>
                    <a:pt x="236" y="50"/>
                  </a:lnTo>
                  <a:lnTo>
                    <a:pt x="238" y="56"/>
                  </a:lnTo>
                  <a:lnTo>
                    <a:pt x="242" y="52"/>
                  </a:lnTo>
                  <a:lnTo>
                    <a:pt x="246" y="52"/>
                  </a:lnTo>
                  <a:lnTo>
                    <a:pt x="248" y="54"/>
                  </a:lnTo>
                  <a:lnTo>
                    <a:pt x="250" y="60"/>
                  </a:lnTo>
                  <a:lnTo>
                    <a:pt x="254" y="60"/>
                  </a:lnTo>
                  <a:lnTo>
                    <a:pt x="256" y="56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6" y="50"/>
                  </a:lnTo>
                  <a:lnTo>
                    <a:pt x="268" y="48"/>
                  </a:lnTo>
                  <a:lnTo>
                    <a:pt x="270" y="52"/>
                  </a:lnTo>
                  <a:lnTo>
                    <a:pt x="272" y="56"/>
                  </a:lnTo>
                  <a:lnTo>
                    <a:pt x="274" y="62"/>
                  </a:lnTo>
                  <a:lnTo>
                    <a:pt x="276" y="64"/>
                  </a:lnTo>
                  <a:lnTo>
                    <a:pt x="282" y="62"/>
                  </a:lnTo>
                  <a:lnTo>
                    <a:pt x="286" y="58"/>
                  </a:lnTo>
                  <a:lnTo>
                    <a:pt x="290" y="58"/>
                  </a:lnTo>
                  <a:lnTo>
                    <a:pt x="292" y="60"/>
                  </a:lnTo>
                  <a:lnTo>
                    <a:pt x="296" y="60"/>
                  </a:lnTo>
                  <a:lnTo>
                    <a:pt x="302" y="58"/>
                  </a:lnTo>
                  <a:lnTo>
                    <a:pt x="304" y="58"/>
                  </a:lnTo>
                  <a:lnTo>
                    <a:pt x="308" y="58"/>
                  </a:lnTo>
                  <a:lnTo>
                    <a:pt x="312" y="60"/>
                  </a:lnTo>
                  <a:lnTo>
                    <a:pt x="314" y="62"/>
                  </a:lnTo>
                  <a:lnTo>
                    <a:pt x="316" y="68"/>
                  </a:lnTo>
                  <a:lnTo>
                    <a:pt x="320" y="68"/>
                  </a:lnTo>
                  <a:lnTo>
                    <a:pt x="324" y="70"/>
                  </a:lnTo>
                  <a:lnTo>
                    <a:pt x="326" y="64"/>
                  </a:lnTo>
                  <a:lnTo>
                    <a:pt x="326" y="60"/>
                  </a:lnTo>
                  <a:lnTo>
                    <a:pt x="320" y="54"/>
                  </a:lnTo>
                  <a:lnTo>
                    <a:pt x="322" y="48"/>
                  </a:lnTo>
                  <a:lnTo>
                    <a:pt x="326" y="42"/>
                  </a:lnTo>
                  <a:lnTo>
                    <a:pt x="330" y="34"/>
                  </a:lnTo>
                  <a:lnTo>
                    <a:pt x="336" y="30"/>
                  </a:lnTo>
                  <a:lnTo>
                    <a:pt x="338" y="26"/>
                  </a:lnTo>
                  <a:lnTo>
                    <a:pt x="338" y="22"/>
                  </a:lnTo>
                  <a:lnTo>
                    <a:pt x="344" y="20"/>
                  </a:lnTo>
                  <a:lnTo>
                    <a:pt x="346" y="22"/>
                  </a:lnTo>
                  <a:lnTo>
                    <a:pt x="350" y="22"/>
                  </a:lnTo>
                  <a:lnTo>
                    <a:pt x="352" y="20"/>
                  </a:lnTo>
                  <a:lnTo>
                    <a:pt x="362" y="18"/>
                  </a:lnTo>
                  <a:lnTo>
                    <a:pt x="370" y="18"/>
                  </a:lnTo>
                  <a:lnTo>
                    <a:pt x="376" y="20"/>
                  </a:lnTo>
                  <a:lnTo>
                    <a:pt x="384" y="22"/>
                  </a:lnTo>
                  <a:lnTo>
                    <a:pt x="390" y="16"/>
                  </a:lnTo>
                  <a:lnTo>
                    <a:pt x="394" y="8"/>
                  </a:lnTo>
                  <a:lnTo>
                    <a:pt x="396" y="0"/>
                  </a:lnTo>
                  <a:lnTo>
                    <a:pt x="404" y="8"/>
                  </a:lnTo>
                  <a:lnTo>
                    <a:pt x="414" y="8"/>
                  </a:lnTo>
                  <a:lnTo>
                    <a:pt x="426" y="0"/>
                  </a:lnTo>
                  <a:lnTo>
                    <a:pt x="438" y="4"/>
                  </a:lnTo>
                  <a:lnTo>
                    <a:pt x="446" y="0"/>
                  </a:lnTo>
                  <a:lnTo>
                    <a:pt x="450" y="8"/>
                  </a:lnTo>
                  <a:lnTo>
                    <a:pt x="456" y="12"/>
                  </a:lnTo>
                  <a:lnTo>
                    <a:pt x="460" y="22"/>
                  </a:lnTo>
                  <a:lnTo>
                    <a:pt x="462" y="26"/>
                  </a:lnTo>
                  <a:lnTo>
                    <a:pt x="466" y="32"/>
                  </a:lnTo>
                  <a:lnTo>
                    <a:pt x="472" y="36"/>
                  </a:lnTo>
                  <a:lnTo>
                    <a:pt x="472" y="44"/>
                  </a:lnTo>
                  <a:lnTo>
                    <a:pt x="466" y="42"/>
                  </a:lnTo>
                  <a:lnTo>
                    <a:pt x="460" y="46"/>
                  </a:lnTo>
                  <a:lnTo>
                    <a:pt x="462" y="54"/>
                  </a:lnTo>
                  <a:lnTo>
                    <a:pt x="464" y="64"/>
                  </a:lnTo>
                  <a:lnTo>
                    <a:pt x="470" y="72"/>
                  </a:lnTo>
                  <a:lnTo>
                    <a:pt x="480" y="72"/>
                  </a:lnTo>
                  <a:lnTo>
                    <a:pt x="484" y="76"/>
                  </a:lnTo>
                  <a:lnTo>
                    <a:pt x="492" y="74"/>
                  </a:lnTo>
                  <a:lnTo>
                    <a:pt x="498" y="74"/>
                  </a:lnTo>
                  <a:lnTo>
                    <a:pt x="498" y="82"/>
                  </a:lnTo>
                  <a:lnTo>
                    <a:pt x="506" y="82"/>
                  </a:lnTo>
                  <a:lnTo>
                    <a:pt x="506" y="92"/>
                  </a:lnTo>
                  <a:lnTo>
                    <a:pt x="510" y="100"/>
                  </a:lnTo>
                  <a:lnTo>
                    <a:pt x="512" y="106"/>
                  </a:lnTo>
                  <a:lnTo>
                    <a:pt x="510" y="112"/>
                  </a:lnTo>
                  <a:lnTo>
                    <a:pt x="512" y="118"/>
                  </a:lnTo>
                  <a:lnTo>
                    <a:pt x="514" y="120"/>
                  </a:lnTo>
                  <a:lnTo>
                    <a:pt x="520" y="128"/>
                  </a:lnTo>
                  <a:lnTo>
                    <a:pt x="524" y="122"/>
                  </a:lnTo>
                  <a:lnTo>
                    <a:pt x="532" y="120"/>
                  </a:lnTo>
                  <a:lnTo>
                    <a:pt x="536" y="122"/>
                  </a:lnTo>
                  <a:lnTo>
                    <a:pt x="546" y="130"/>
                  </a:lnTo>
                  <a:lnTo>
                    <a:pt x="548" y="128"/>
                  </a:lnTo>
                  <a:lnTo>
                    <a:pt x="552" y="130"/>
                  </a:lnTo>
                  <a:lnTo>
                    <a:pt x="554" y="134"/>
                  </a:lnTo>
                  <a:lnTo>
                    <a:pt x="562" y="130"/>
                  </a:lnTo>
                  <a:lnTo>
                    <a:pt x="568" y="128"/>
                  </a:lnTo>
                  <a:lnTo>
                    <a:pt x="572" y="128"/>
                  </a:lnTo>
                  <a:lnTo>
                    <a:pt x="582" y="124"/>
                  </a:lnTo>
                  <a:lnTo>
                    <a:pt x="588" y="122"/>
                  </a:lnTo>
                  <a:lnTo>
                    <a:pt x="590" y="126"/>
                  </a:lnTo>
                  <a:lnTo>
                    <a:pt x="594" y="132"/>
                  </a:lnTo>
                  <a:lnTo>
                    <a:pt x="594" y="134"/>
                  </a:lnTo>
                  <a:lnTo>
                    <a:pt x="598" y="140"/>
                  </a:lnTo>
                  <a:lnTo>
                    <a:pt x="598" y="144"/>
                  </a:lnTo>
                  <a:lnTo>
                    <a:pt x="604" y="144"/>
                  </a:lnTo>
                  <a:lnTo>
                    <a:pt x="608" y="150"/>
                  </a:lnTo>
                  <a:lnTo>
                    <a:pt x="612" y="152"/>
                  </a:lnTo>
                  <a:lnTo>
                    <a:pt x="616" y="148"/>
                  </a:lnTo>
                  <a:lnTo>
                    <a:pt x="618" y="144"/>
                  </a:lnTo>
                  <a:lnTo>
                    <a:pt x="622" y="142"/>
                  </a:lnTo>
                  <a:lnTo>
                    <a:pt x="626" y="150"/>
                  </a:lnTo>
                  <a:lnTo>
                    <a:pt x="634" y="152"/>
                  </a:lnTo>
                  <a:lnTo>
                    <a:pt x="642" y="154"/>
                  </a:lnTo>
                  <a:lnTo>
                    <a:pt x="646" y="158"/>
                  </a:lnTo>
                  <a:lnTo>
                    <a:pt x="652" y="156"/>
                  </a:lnTo>
                  <a:lnTo>
                    <a:pt x="656" y="160"/>
                  </a:lnTo>
                  <a:lnTo>
                    <a:pt x="660" y="164"/>
                  </a:lnTo>
                  <a:lnTo>
                    <a:pt x="668" y="164"/>
                  </a:lnTo>
                  <a:lnTo>
                    <a:pt x="670" y="170"/>
                  </a:lnTo>
                  <a:lnTo>
                    <a:pt x="678" y="174"/>
                  </a:lnTo>
                  <a:lnTo>
                    <a:pt x="682" y="174"/>
                  </a:lnTo>
                  <a:lnTo>
                    <a:pt x="684" y="172"/>
                  </a:lnTo>
                  <a:lnTo>
                    <a:pt x="688" y="170"/>
                  </a:lnTo>
                  <a:lnTo>
                    <a:pt x="690" y="172"/>
                  </a:lnTo>
                  <a:lnTo>
                    <a:pt x="688" y="176"/>
                  </a:lnTo>
                  <a:lnTo>
                    <a:pt x="688" y="180"/>
                  </a:lnTo>
                  <a:lnTo>
                    <a:pt x="690" y="182"/>
                  </a:lnTo>
                  <a:lnTo>
                    <a:pt x="692" y="188"/>
                  </a:lnTo>
                  <a:lnTo>
                    <a:pt x="692" y="194"/>
                  </a:lnTo>
                  <a:lnTo>
                    <a:pt x="688" y="196"/>
                  </a:lnTo>
                  <a:lnTo>
                    <a:pt x="684" y="198"/>
                  </a:lnTo>
                  <a:lnTo>
                    <a:pt x="678" y="202"/>
                  </a:lnTo>
                  <a:lnTo>
                    <a:pt x="674" y="204"/>
                  </a:lnTo>
                  <a:lnTo>
                    <a:pt x="678" y="210"/>
                  </a:lnTo>
                  <a:lnTo>
                    <a:pt x="682" y="212"/>
                  </a:lnTo>
                  <a:lnTo>
                    <a:pt x="686" y="214"/>
                  </a:lnTo>
                  <a:lnTo>
                    <a:pt x="684" y="218"/>
                  </a:lnTo>
                  <a:lnTo>
                    <a:pt x="680" y="218"/>
                  </a:lnTo>
                  <a:lnTo>
                    <a:pt x="674" y="218"/>
                  </a:lnTo>
                  <a:lnTo>
                    <a:pt x="674" y="222"/>
                  </a:lnTo>
                  <a:lnTo>
                    <a:pt x="674" y="228"/>
                  </a:lnTo>
                  <a:lnTo>
                    <a:pt x="676" y="230"/>
                  </a:lnTo>
                  <a:lnTo>
                    <a:pt x="680" y="232"/>
                  </a:lnTo>
                  <a:lnTo>
                    <a:pt x="680" y="236"/>
                  </a:lnTo>
                  <a:lnTo>
                    <a:pt x="680" y="240"/>
                  </a:lnTo>
                  <a:lnTo>
                    <a:pt x="682" y="246"/>
                  </a:lnTo>
                  <a:lnTo>
                    <a:pt x="684" y="248"/>
                  </a:lnTo>
                  <a:lnTo>
                    <a:pt x="680" y="260"/>
                  </a:lnTo>
                  <a:lnTo>
                    <a:pt x="678" y="268"/>
                  </a:lnTo>
                  <a:lnTo>
                    <a:pt x="678" y="272"/>
                  </a:lnTo>
                  <a:lnTo>
                    <a:pt x="672" y="274"/>
                  </a:lnTo>
                  <a:lnTo>
                    <a:pt x="658" y="270"/>
                  </a:lnTo>
                  <a:lnTo>
                    <a:pt x="646" y="272"/>
                  </a:lnTo>
                  <a:lnTo>
                    <a:pt x="642" y="272"/>
                  </a:lnTo>
                  <a:lnTo>
                    <a:pt x="640" y="276"/>
                  </a:lnTo>
                  <a:lnTo>
                    <a:pt x="636" y="282"/>
                  </a:lnTo>
                  <a:lnTo>
                    <a:pt x="630" y="284"/>
                  </a:lnTo>
                  <a:lnTo>
                    <a:pt x="624" y="286"/>
                  </a:lnTo>
                  <a:lnTo>
                    <a:pt x="620" y="288"/>
                  </a:lnTo>
                  <a:lnTo>
                    <a:pt x="618" y="300"/>
                  </a:lnTo>
                  <a:lnTo>
                    <a:pt x="618" y="306"/>
                  </a:lnTo>
                  <a:lnTo>
                    <a:pt x="618" y="310"/>
                  </a:lnTo>
                  <a:lnTo>
                    <a:pt x="618" y="312"/>
                  </a:lnTo>
                  <a:lnTo>
                    <a:pt x="604" y="314"/>
                  </a:lnTo>
                  <a:lnTo>
                    <a:pt x="588" y="316"/>
                  </a:lnTo>
                  <a:lnTo>
                    <a:pt x="578" y="326"/>
                  </a:lnTo>
                  <a:lnTo>
                    <a:pt x="566" y="332"/>
                  </a:lnTo>
                  <a:lnTo>
                    <a:pt x="546" y="334"/>
                  </a:lnTo>
                  <a:lnTo>
                    <a:pt x="528" y="340"/>
                  </a:lnTo>
                  <a:lnTo>
                    <a:pt x="518" y="348"/>
                  </a:lnTo>
                  <a:lnTo>
                    <a:pt x="510" y="350"/>
                  </a:lnTo>
                  <a:lnTo>
                    <a:pt x="502" y="342"/>
                  </a:lnTo>
                  <a:lnTo>
                    <a:pt x="496" y="356"/>
                  </a:lnTo>
                  <a:lnTo>
                    <a:pt x="492" y="362"/>
                  </a:lnTo>
                  <a:lnTo>
                    <a:pt x="484" y="362"/>
                  </a:lnTo>
                  <a:lnTo>
                    <a:pt x="476" y="362"/>
                  </a:lnTo>
                  <a:lnTo>
                    <a:pt x="458" y="362"/>
                  </a:lnTo>
                  <a:lnTo>
                    <a:pt x="450" y="366"/>
                  </a:lnTo>
                  <a:lnTo>
                    <a:pt x="462" y="372"/>
                  </a:lnTo>
                  <a:lnTo>
                    <a:pt x="496" y="398"/>
                  </a:lnTo>
                  <a:lnTo>
                    <a:pt x="496" y="402"/>
                  </a:lnTo>
                  <a:lnTo>
                    <a:pt x="494" y="406"/>
                  </a:lnTo>
                  <a:lnTo>
                    <a:pt x="498" y="412"/>
                  </a:lnTo>
                  <a:lnTo>
                    <a:pt x="508" y="414"/>
                  </a:lnTo>
                  <a:lnTo>
                    <a:pt x="516" y="410"/>
                  </a:lnTo>
                  <a:lnTo>
                    <a:pt x="528" y="406"/>
                  </a:lnTo>
                  <a:lnTo>
                    <a:pt x="546" y="408"/>
                  </a:lnTo>
                  <a:lnTo>
                    <a:pt x="554" y="410"/>
                  </a:lnTo>
                  <a:lnTo>
                    <a:pt x="548" y="416"/>
                  </a:lnTo>
                  <a:lnTo>
                    <a:pt x="548" y="422"/>
                  </a:lnTo>
                  <a:lnTo>
                    <a:pt x="544" y="426"/>
                  </a:lnTo>
                  <a:lnTo>
                    <a:pt x="534" y="430"/>
                  </a:lnTo>
                  <a:lnTo>
                    <a:pt x="528" y="430"/>
                  </a:lnTo>
                  <a:lnTo>
                    <a:pt x="518" y="426"/>
                  </a:lnTo>
                  <a:lnTo>
                    <a:pt x="510" y="428"/>
                  </a:lnTo>
                  <a:lnTo>
                    <a:pt x="498" y="438"/>
                  </a:lnTo>
                  <a:lnTo>
                    <a:pt x="480" y="440"/>
                  </a:lnTo>
                  <a:lnTo>
                    <a:pt x="470" y="444"/>
                  </a:lnTo>
                  <a:lnTo>
                    <a:pt x="462" y="456"/>
                  </a:lnTo>
                  <a:lnTo>
                    <a:pt x="456" y="458"/>
                  </a:lnTo>
                  <a:lnTo>
                    <a:pt x="444" y="456"/>
                  </a:lnTo>
                  <a:lnTo>
                    <a:pt x="434" y="454"/>
                  </a:lnTo>
                  <a:lnTo>
                    <a:pt x="440" y="434"/>
                  </a:lnTo>
                  <a:lnTo>
                    <a:pt x="438" y="424"/>
                  </a:lnTo>
                  <a:lnTo>
                    <a:pt x="434" y="418"/>
                  </a:lnTo>
                  <a:lnTo>
                    <a:pt x="418" y="410"/>
                  </a:lnTo>
                  <a:lnTo>
                    <a:pt x="414" y="410"/>
                  </a:lnTo>
                  <a:lnTo>
                    <a:pt x="404" y="410"/>
                  </a:lnTo>
                  <a:lnTo>
                    <a:pt x="402" y="412"/>
                  </a:lnTo>
                  <a:lnTo>
                    <a:pt x="400" y="406"/>
                  </a:lnTo>
                  <a:lnTo>
                    <a:pt x="414" y="394"/>
                  </a:lnTo>
                  <a:lnTo>
                    <a:pt x="426" y="388"/>
                  </a:lnTo>
                  <a:lnTo>
                    <a:pt x="438" y="384"/>
                  </a:lnTo>
                  <a:lnTo>
                    <a:pt x="442" y="380"/>
                  </a:lnTo>
                  <a:lnTo>
                    <a:pt x="438" y="370"/>
                  </a:lnTo>
                  <a:lnTo>
                    <a:pt x="430" y="368"/>
                  </a:lnTo>
                  <a:lnTo>
                    <a:pt x="416" y="368"/>
                  </a:lnTo>
                  <a:lnTo>
                    <a:pt x="400" y="370"/>
                  </a:lnTo>
                  <a:lnTo>
                    <a:pt x="388" y="368"/>
                  </a:lnTo>
                  <a:lnTo>
                    <a:pt x="384" y="364"/>
                  </a:lnTo>
                  <a:lnTo>
                    <a:pt x="376" y="354"/>
                  </a:lnTo>
                  <a:lnTo>
                    <a:pt x="386" y="344"/>
                  </a:lnTo>
                  <a:lnTo>
                    <a:pt x="378" y="328"/>
                  </a:lnTo>
                  <a:lnTo>
                    <a:pt x="372" y="338"/>
                  </a:lnTo>
                  <a:lnTo>
                    <a:pt x="362" y="338"/>
                  </a:lnTo>
                  <a:lnTo>
                    <a:pt x="344" y="342"/>
                  </a:lnTo>
                  <a:lnTo>
                    <a:pt x="334" y="344"/>
                  </a:lnTo>
                  <a:lnTo>
                    <a:pt x="322" y="362"/>
                  </a:lnTo>
                  <a:lnTo>
                    <a:pt x="306" y="384"/>
                  </a:lnTo>
                  <a:lnTo>
                    <a:pt x="292" y="390"/>
                  </a:lnTo>
                  <a:lnTo>
                    <a:pt x="288" y="390"/>
                  </a:lnTo>
                  <a:lnTo>
                    <a:pt x="284" y="402"/>
                  </a:lnTo>
                  <a:lnTo>
                    <a:pt x="284" y="406"/>
                  </a:lnTo>
                  <a:lnTo>
                    <a:pt x="288" y="408"/>
                  </a:lnTo>
                  <a:lnTo>
                    <a:pt x="276" y="406"/>
                  </a:lnTo>
                  <a:lnTo>
                    <a:pt x="264" y="412"/>
                  </a:lnTo>
                  <a:lnTo>
                    <a:pt x="256" y="412"/>
                  </a:lnTo>
                  <a:lnTo>
                    <a:pt x="256" y="418"/>
                  </a:lnTo>
                  <a:lnTo>
                    <a:pt x="246" y="416"/>
                  </a:lnTo>
                  <a:lnTo>
                    <a:pt x="238" y="412"/>
                  </a:lnTo>
                  <a:lnTo>
                    <a:pt x="236" y="406"/>
                  </a:lnTo>
                  <a:lnTo>
                    <a:pt x="234" y="406"/>
                  </a:lnTo>
                  <a:lnTo>
                    <a:pt x="234" y="404"/>
                  </a:lnTo>
                  <a:lnTo>
                    <a:pt x="236" y="404"/>
                  </a:lnTo>
                  <a:lnTo>
                    <a:pt x="238" y="404"/>
                  </a:lnTo>
                  <a:lnTo>
                    <a:pt x="240" y="404"/>
                  </a:lnTo>
                  <a:lnTo>
                    <a:pt x="244" y="404"/>
                  </a:lnTo>
                  <a:lnTo>
                    <a:pt x="246" y="402"/>
                  </a:lnTo>
                  <a:lnTo>
                    <a:pt x="246" y="400"/>
                  </a:lnTo>
                  <a:lnTo>
                    <a:pt x="244" y="396"/>
                  </a:lnTo>
                  <a:lnTo>
                    <a:pt x="244" y="394"/>
                  </a:lnTo>
                  <a:lnTo>
                    <a:pt x="246" y="392"/>
                  </a:lnTo>
                  <a:lnTo>
                    <a:pt x="248" y="390"/>
                  </a:lnTo>
                  <a:lnTo>
                    <a:pt x="250" y="390"/>
                  </a:lnTo>
                  <a:lnTo>
                    <a:pt x="252" y="388"/>
                  </a:lnTo>
                  <a:lnTo>
                    <a:pt x="254" y="386"/>
                  </a:lnTo>
                  <a:lnTo>
                    <a:pt x="254" y="382"/>
                  </a:lnTo>
                  <a:lnTo>
                    <a:pt x="254" y="380"/>
                  </a:lnTo>
                  <a:lnTo>
                    <a:pt x="256" y="380"/>
                  </a:lnTo>
                  <a:lnTo>
                    <a:pt x="262" y="378"/>
                  </a:lnTo>
                  <a:lnTo>
                    <a:pt x="262" y="376"/>
                  </a:lnTo>
                  <a:lnTo>
                    <a:pt x="262" y="374"/>
                  </a:lnTo>
                  <a:lnTo>
                    <a:pt x="262" y="372"/>
                  </a:lnTo>
                  <a:lnTo>
                    <a:pt x="264" y="368"/>
                  </a:lnTo>
                  <a:lnTo>
                    <a:pt x="264" y="366"/>
                  </a:lnTo>
                  <a:lnTo>
                    <a:pt x="262" y="362"/>
                  </a:lnTo>
                  <a:lnTo>
                    <a:pt x="262" y="360"/>
                  </a:lnTo>
                  <a:lnTo>
                    <a:pt x="262" y="356"/>
                  </a:lnTo>
                  <a:lnTo>
                    <a:pt x="260" y="354"/>
                  </a:lnTo>
                  <a:lnTo>
                    <a:pt x="264" y="350"/>
                  </a:lnTo>
                  <a:lnTo>
                    <a:pt x="268" y="348"/>
                  </a:lnTo>
                  <a:lnTo>
                    <a:pt x="270" y="346"/>
                  </a:lnTo>
                  <a:lnTo>
                    <a:pt x="272" y="348"/>
                  </a:lnTo>
                  <a:lnTo>
                    <a:pt x="272" y="350"/>
                  </a:lnTo>
                  <a:lnTo>
                    <a:pt x="272" y="356"/>
                  </a:lnTo>
                  <a:lnTo>
                    <a:pt x="274" y="356"/>
                  </a:lnTo>
                  <a:lnTo>
                    <a:pt x="274" y="354"/>
                  </a:lnTo>
                  <a:lnTo>
                    <a:pt x="274" y="352"/>
                  </a:lnTo>
                  <a:lnTo>
                    <a:pt x="276" y="352"/>
                  </a:lnTo>
                  <a:lnTo>
                    <a:pt x="278" y="354"/>
                  </a:lnTo>
                  <a:lnTo>
                    <a:pt x="278" y="352"/>
                  </a:lnTo>
                  <a:lnTo>
                    <a:pt x="280" y="350"/>
                  </a:lnTo>
                  <a:lnTo>
                    <a:pt x="282" y="350"/>
                  </a:lnTo>
                  <a:lnTo>
                    <a:pt x="282" y="352"/>
                  </a:lnTo>
                  <a:lnTo>
                    <a:pt x="284" y="354"/>
                  </a:lnTo>
                  <a:lnTo>
                    <a:pt x="286" y="358"/>
                  </a:lnTo>
                  <a:lnTo>
                    <a:pt x="288" y="356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8" y="356"/>
                  </a:lnTo>
                  <a:lnTo>
                    <a:pt x="300" y="356"/>
                  </a:lnTo>
                  <a:lnTo>
                    <a:pt x="304" y="356"/>
                  </a:lnTo>
                  <a:lnTo>
                    <a:pt x="306" y="354"/>
                  </a:lnTo>
                  <a:lnTo>
                    <a:pt x="304" y="354"/>
                  </a:lnTo>
                  <a:lnTo>
                    <a:pt x="302" y="350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2"/>
                  </a:lnTo>
                  <a:lnTo>
                    <a:pt x="300" y="340"/>
                  </a:lnTo>
                  <a:lnTo>
                    <a:pt x="300" y="336"/>
                  </a:lnTo>
                  <a:lnTo>
                    <a:pt x="300" y="334"/>
                  </a:lnTo>
                  <a:lnTo>
                    <a:pt x="298" y="332"/>
                  </a:lnTo>
                  <a:lnTo>
                    <a:pt x="294" y="330"/>
                  </a:lnTo>
                  <a:lnTo>
                    <a:pt x="292" y="330"/>
                  </a:lnTo>
                  <a:lnTo>
                    <a:pt x="290" y="326"/>
                  </a:lnTo>
                  <a:lnTo>
                    <a:pt x="288" y="324"/>
                  </a:lnTo>
                  <a:lnTo>
                    <a:pt x="286" y="324"/>
                  </a:lnTo>
                  <a:lnTo>
                    <a:pt x="286" y="320"/>
                  </a:lnTo>
                  <a:lnTo>
                    <a:pt x="286" y="318"/>
                  </a:lnTo>
                  <a:lnTo>
                    <a:pt x="286" y="316"/>
                  </a:lnTo>
                  <a:lnTo>
                    <a:pt x="284" y="318"/>
                  </a:lnTo>
                  <a:lnTo>
                    <a:pt x="282" y="314"/>
                  </a:lnTo>
                  <a:lnTo>
                    <a:pt x="284" y="314"/>
                  </a:lnTo>
                  <a:lnTo>
                    <a:pt x="284" y="308"/>
                  </a:lnTo>
                  <a:lnTo>
                    <a:pt x="286" y="306"/>
                  </a:lnTo>
                  <a:lnTo>
                    <a:pt x="286" y="304"/>
                  </a:lnTo>
                  <a:lnTo>
                    <a:pt x="286" y="302"/>
                  </a:lnTo>
                  <a:lnTo>
                    <a:pt x="284" y="302"/>
                  </a:lnTo>
                  <a:lnTo>
                    <a:pt x="282" y="304"/>
                  </a:lnTo>
                  <a:lnTo>
                    <a:pt x="280" y="304"/>
                  </a:lnTo>
                  <a:lnTo>
                    <a:pt x="278" y="302"/>
                  </a:lnTo>
                  <a:lnTo>
                    <a:pt x="276" y="300"/>
                  </a:lnTo>
                  <a:lnTo>
                    <a:pt x="274" y="298"/>
                  </a:lnTo>
                  <a:lnTo>
                    <a:pt x="270" y="296"/>
                  </a:lnTo>
                  <a:lnTo>
                    <a:pt x="268" y="294"/>
                  </a:lnTo>
                  <a:lnTo>
                    <a:pt x="268" y="290"/>
                  </a:lnTo>
                  <a:lnTo>
                    <a:pt x="272" y="286"/>
                  </a:lnTo>
                  <a:lnTo>
                    <a:pt x="272" y="282"/>
                  </a:lnTo>
                  <a:lnTo>
                    <a:pt x="272" y="278"/>
                  </a:lnTo>
                  <a:lnTo>
                    <a:pt x="272" y="276"/>
                  </a:lnTo>
                  <a:lnTo>
                    <a:pt x="270" y="276"/>
                  </a:lnTo>
                  <a:lnTo>
                    <a:pt x="274" y="272"/>
                  </a:lnTo>
                  <a:lnTo>
                    <a:pt x="272" y="270"/>
                  </a:lnTo>
                  <a:lnTo>
                    <a:pt x="270" y="270"/>
                  </a:lnTo>
                  <a:lnTo>
                    <a:pt x="268" y="266"/>
                  </a:lnTo>
                  <a:lnTo>
                    <a:pt x="266" y="266"/>
                  </a:lnTo>
                  <a:lnTo>
                    <a:pt x="266" y="268"/>
                  </a:lnTo>
                  <a:lnTo>
                    <a:pt x="264" y="268"/>
                  </a:lnTo>
                  <a:lnTo>
                    <a:pt x="260" y="266"/>
                  </a:lnTo>
                  <a:lnTo>
                    <a:pt x="258" y="262"/>
                  </a:lnTo>
                  <a:lnTo>
                    <a:pt x="256" y="258"/>
                  </a:lnTo>
                  <a:lnTo>
                    <a:pt x="250" y="254"/>
                  </a:lnTo>
                  <a:lnTo>
                    <a:pt x="244" y="256"/>
                  </a:lnTo>
                  <a:lnTo>
                    <a:pt x="242" y="260"/>
                  </a:lnTo>
                  <a:lnTo>
                    <a:pt x="242" y="258"/>
                  </a:lnTo>
                  <a:lnTo>
                    <a:pt x="242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2"/>
                  </a:lnTo>
                  <a:lnTo>
                    <a:pt x="240" y="250"/>
                  </a:lnTo>
                  <a:lnTo>
                    <a:pt x="238" y="250"/>
                  </a:lnTo>
                  <a:lnTo>
                    <a:pt x="234" y="252"/>
                  </a:lnTo>
                  <a:lnTo>
                    <a:pt x="232" y="250"/>
                  </a:lnTo>
                  <a:lnTo>
                    <a:pt x="230" y="252"/>
                  </a:lnTo>
                  <a:lnTo>
                    <a:pt x="230" y="250"/>
                  </a:lnTo>
                  <a:lnTo>
                    <a:pt x="228" y="248"/>
                  </a:lnTo>
                  <a:lnTo>
                    <a:pt x="226" y="246"/>
                  </a:lnTo>
                  <a:lnTo>
                    <a:pt x="224" y="246"/>
                  </a:lnTo>
                  <a:lnTo>
                    <a:pt x="222" y="244"/>
                  </a:lnTo>
                  <a:lnTo>
                    <a:pt x="220" y="242"/>
                  </a:lnTo>
                  <a:lnTo>
                    <a:pt x="216" y="238"/>
                  </a:lnTo>
                  <a:lnTo>
                    <a:pt x="214" y="238"/>
                  </a:lnTo>
                  <a:lnTo>
                    <a:pt x="212" y="240"/>
                  </a:lnTo>
                  <a:lnTo>
                    <a:pt x="210" y="238"/>
                  </a:lnTo>
                  <a:lnTo>
                    <a:pt x="208" y="238"/>
                  </a:lnTo>
                  <a:lnTo>
                    <a:pt x="206" y="238"/>
                  </a:lnTo>
                  <a:lnTo>
                    <a:pt x="202" y="240"/>
                  </a:lnTo>
                  <a:lnTo>
                    <a:pt x="200" y="240"/>
                  </a:lnTo>
                  <a:lnTo>
                    <a:pt x="198" y="240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88" y="242"/>
                  </a:lnTo>
                  <a:lnTo>
                    <a:pt x="186" y="244"/>
                  </a:lnTo>
                  <a:lnTo>
                    <a:pt x="180" y="240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78" y="246"/>
                  </a:lnTo>
                  <a:lnTo>
                    <a:pt x="176" y="244"/>
                  </a:lnTo>
                  <a:lnTo>
                    <a:pt x="174" y="248"/>
                  </a:lnTo>
                  <a:lnTo>
                    <a:pt x="172" y="250"/>
                  </a:lnTo>
                  <a:lnTo>
                    <a:pt x="162" y="250"/>
                  </a:lnTo>
                  <a:lnTo>
                    <a:pt x="160" y="260"/>
                  </a:lnTo>
                  <a:lnTo>
                    <a:pt x="154" y="264"/>
                  </a:lnTo>
                  <a:lnTo>
                    <a:pt x="120" y="268"/>
                  </a:lnTo>
                  <a:lnTo>
                    <a:pt x="116" y="274"/>
                  </a:lnTo>
                  <a:lnTo>
                    <a:pt x="112" y="278"/>
                  </a:lnTo>
                  <a:lnTo>
                    <a:pt x="106" y="278"/>
                  </a:lnTo>
                  <a:lnTo>
                    <a:pt x="104" y="274"/>
                  </a:lnTo>
                  <a:lnTo>
                    <a:pt x="98" y="274"/>
                  </a:lnTo>
                  <a:lnTo>
                    <a:pt x="98" y="266"/>
                  </a:lnTo>
                  <a:lnTo>
                    <a:pt x="92" y="268"/>
                  </a:lnTo>
                  <a:lnTo>
                    <a:pt x="72" y="266"/>
                  </a:lnTo>
                  <a:lnTo>
                    <a:pt x="56" y="262"/>
                  </a:lnTo>
                  <a:lnTo>
                    <a:pt x="50" y="264"/>
                  </a:lnTo>
                  <a:lnTo>
                    <a:pt x="38" y="262"/>
                  </a:lnTo>
                  <a:lnTo>
                    <a:pt x="36" y="264"/>
                  </a:lnTo>
                  <a:lnTo>
                    <a:pt x="24" y="254"/>
                  </a:lnTo>
                  <a:lnTo>
                    <a:pt x="14" y="248"/>
                  </a:lnTo>
                  <a:lnTo>
                    <a:pt x="2" y="240"/>
                  </a:lnTo>
                  <a:lnTo>
                    <a:pt x="0" y="240"/>
                  </a:lnTo>
                  <a:lnTo>
                    <a:pt x="18" y="202"/>
                  </a:lnTo>
                  <a:lnTo>
                    <a:pt x="28" y="202"/>
                  </a:lnTo>
                  <a:lnTo>
                    <a:pt x="24" y="192"/>
                  </a:lnTo>
                  <a:lnTo>
                    <a:pt x="22" y="178"/>
                  </a:lnTo>
                  <a:lnTo>
                    <a:pt x="24" y="170"/>
                  </a:lnTo>
                  <a:lnTo>
                    <a:pt x="50" y="138"/>
                  </a:lnTo>
                  <a:lnTo>
                    <a:pt x="60" y="126"/>
                  </a:lnTo>
                  <a:lnTo>
                    <a:pt x="64" y="122"/>
                  </a:lnTo>
                  <a:lnTo>
                    <a:pt x="72" y="120"/>
                  </a:lnTo>
                  <a:lnTo>
                    <a:pt x="76" y="114"/>
                  </a:lnTo>
                  <a:lnTo>
                    <a:pt x="76" y="106"/>
                  </a:lnTo>
                  <a:lnTo>
                    <a:pt x="72" y="98"/>
                  </a:lnTo>
                  <a:lnTo>
                    <a:pt x="72" y="94"/>
                  </a:lnTo>
                  <a:lnTo>
                    <a:pt x="78" y="94"/>
                  </a:lnTo>
                  <a:lnTo>
                    <a:pt x="72" y="88"/>
                  </a:lnTo>
                  <a:lnTo>
                    <a:pt x="58" y="64"/>
                  </a:lnTo>
                  <a:lnTo>
                    <a:pt x="60" y="58"/>
                  </a:lnTo>
                  <a:lnTo>
                    <a:pt x="56" y="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33">
              <a:extLst>
                <a:ext uri="{FF2B5EF4-FFF2-40B4-BE49-F238E27FC236}">
                  <a16:creationId xmlns:a16="http://schemas.microsoft.com/office/drawing/2014/main" id="{1DB728C8-2EE3-4D35-B3E0-34C856986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3781425" y="5238750"/>
              <a:ext cx="219075" cy="393700"/>
            </a:xfrm>
            <a:custGeom>
              <a:avLst/>
              <a:gdLst>
                <a:gd name="T0" fmla="*/ 302 w 132"/>
                <a:gd name="T1" fmla="*/ 630 h 254"/>
                <a:gd name="T2" fmla="*/ 231 w 132"/>
                <a:gd name="T3" fmla="*/ 644 h 254"/>
                <a:gd name="T4" fmla="*/ 156 w 132"/>
                <a:gd name="T5" fmla="*/ 633 h 254"/>
                <a:gd name="T6" fmla="*/ 87 w 132"/>
                <a:gd name="T7" fmla="*/ 649 h 254"/>
                <a:gd name="T8" fmla="*/ 109 w 132"/>
                <a:gd name="T9" fmla="*/ 583 h 254"/>
                <a:gd name="T10" fmla="*/ 94 w 132"/>
                <a:gd name="T11" fmla="*/ 527 h 254"/>
                <a:gd name="T12" fmla="*/ 109 w 132"/>
                <a:gd name="T13" fmla="*/ 475 h 254"/>
                <a:gd name="T14" fmla="*/ 109 w 132"/>
                <a:gd name="T15" fmla="*/ 461 h 254"/>
                <a:gd name="T16" fmla="*/ 48 w 132"/>
                <a:gd name="T17" fmla="*/ 469 h 254"/>
                <a:gd name="T18" fmla="*/ 72 w 132"/>
                <a:gd name="T19" fmla="*/ 443 h 254"/>
                <a:gd name="T20" fmla="*/ 94 w 132"/>
                <a:gd name="T21" fmla="*/ 421 h 254"/>
                <a:gd name="T22" fmla="*/ 62 w 132"/>
                <a:gd name="T23" fmla="*/ 435 h 254"/>
                <a:gd name="T24" fmla="*/ 10 w 132"/>
                <a:gd name="T25" fmla="*/ 435 h 254"/>
                <a:gd name="T26" fmla="*/ 16 w 132"/>
                <a:gd name="T27" fmla="*/ 405 h 254"/>
                <a:gd name="T28" fmla="*/ 25 w 132"/>
                <a:gd name="T29" fmla="*/ 352 h 254"/>
                <a:gd name="T30" fmla="*/ 72 w 132"/>
                <a:gd name="T31" fmla="*/ 318 h 254"/>
                <a:gd name="T32" fmla="*/ 87 w 132"/>
                <a:gd name="T33" fmla="*/ 244 h 254"/>
                <a:gd name="T34" fmla="*/ 109 w 132"/>
                <a:gd name="T35" fmla="*/ 88 h 254"/>
                <a:gd name="T36" fmla="*/ 94 w 132"/>
                <a:gd name="T37" fmla="*/ 41 h 254"/>
                <a:gd name="T38" fmla="*/ 172 w 132"/>
                <a:gd name="T39" fmla="*/ 11 h 254"/>
                <a:gd name="T40" fmla="*/ 253 w 132"/>
                <a:gd name="T41" fmla="*/ 26 h 254"/>
                <a:gd name="T42" fmla="*/ 411 w 132"/>
                <a:gd name="T43" fmla="*/ 11 h 254"/>
                <a:gd name="T44" fmla="*/ 449 w 132"/>
                <a:gd name="T45" fmla="*/ 30 h 254"/>
                <a:gd name="T46" fmla="*/ 523 w 132"/>
                <a:gd name="T47" fmla="*/ 74 h 254"/>
                <a:gd name="T48" fmla="*/ 504 w 132"/>
                <a:gd name="T49" fmla="*/ 96 h 254"/>
                <a:gd name="T50" fmla="*/ 411 w 132"/>
                <a:gd name="T51" fmla="*/ 132 h 254"/>
                <a:gd name="T52" fmla="*/ 418 w 132"/>
                <a:gd name="T53" fmla="*/ 184 h 254"/>
                <a:gd name="T54" fmla="*/ 411 w 132"/>
                <a:gd name="T55" fmla="*/ 297 h 254"/>
                <a:gd name="T56" fmla="*/ 380 w 132"/>
                <a:gd name="T57" fmla="*/ 322 h 254"/>
                <a:gd name="T58" fmla="*/ 324 w 132"/>
                <a:gd name="T59" fmla="*/ 332 h 254"/>
                <a:gd name="T60" fmla="*/ 387 w 132"/>
                <a:gd name="T61" fmla="*/ 394 h 254"/>
                <a:gd name="T62" fmla="*/ 370 w 132"/>
                <a:gd name="T63" fmla="*/ 423 h 254"/>
                <a:gd name="T64" fmla="*/ 332 w 132"/>
                <a:gd name="T65" fmla="*/ 485 h 254"/>
                <a:gd name="T66" fmla="*/ 411 w 132"/>
                <a:gd name="T67" fmla="*/ 511 h 254"/>
                <a:gd name="T68" fmla="*/ 332 w 132"/>
                <a:gd name="T69" fmla="*/ 567 h 254"/>
                <a:gd name="T70" fmla="*/ 318 w 132"/>
                <a:gd name="T71" fmla="*/ 620 h 25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32"/>
                <a:gd name="T109" fmla="*/ 0 h 254"/>
                <a:gd name="T110" fmla="*/ 132 w 132"/>
                <a:gd name="T111" fmla="*/ 254 h 25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32" h="254">
                  <a:moveTo>
                    <a:pt x="80" y="242"/>
                  </a:moveTo>
                  <a:lnTo>
                    <a:pt x="76" y="246"/>
                  </a:lnTo>
                  <a:lnTo>
                    <a:pt x="66" y="252"/>
                  </a:lnTo>
                  <a:lnTo>
                    <a:pt x="58" y="252"/>
                  </a:lnTo>
                  <a:lnTo>
                    <a:pt x="50" y="248"/>
                  </a:lnTo>
                  <a:lnTo>
                    <a:pt x="40" y="248"/>
                  </a:lnTo>
                  <a:lnTo>
                    <a:pt x="34" y="248"/>
                  </a:lnTo>
                  <a:lnTo>
                    <a:pt x="22" y="254"/>
                  </a:lnTo>
                  <a:lnTo>
                    <a:pt x="20" y="250"/>
                  </a:lnTo>
                  <a:lnTo>
                    <a:pt x="28" y="228"/>
                  </a:lnTo>
                  <a:lnTo>
                    <a:pt x="28" y="208"/>
                  </a:lnTo>
                  <a:lnTo>
                    <a:pt x="24" y="206"/>
                  </a:lnTo>
                  <a:lnTo>
                    <a:pt x="28" y="194"/>
                  </a:lnTo>
                  <a:lnTo>
                    <a:pt x="28" y="186"/>
                  </a:lnTo>
                  <a:lnTo>
                    <a:pt x="30" y="184"/>
                  </a:lnTo>
                  <a:lnTo>
                    <a:pt x="28" y="180"/>
                  </a:lnTo>
                  <a:lnTo>
                    <a:pt x="20" y="182"/>
                  </a:lnTo>
                  <a:lnTo>
                    <a:pt x="12" y="184"/>
                  </a:lnTo>
                  <a:lnTo>
                    <a:pt x="10" y="174"/>
                  </a:lnTo>
                  <a:lnTo>
                    <a:pt x="18" y="174"/>
                  </a:lnTo>
                  <a:lnTo>
                    <a:pt x="24" y="168"/>
                  </a:lnTo>
                  <a:lnTo>
                    <a:pt x="24" y="164"/>
                  </a:lnTo>
                  <a:lnTo>
                    <a:pt x="20" y="160"/>
                  </a:lnTo>
                  <a:lnTo>
                    <a:pt x="16" y="170"/>
                  </a:lnTo>
                  <a:lnTo>
                    <a:pt x="8" y="172"/>
                  </a:lnTo>
                  <a:lnTo>
                    <a:pt x="2" y="170"/>
                  </a:lnTo>
                  <a:lnTo>
                    <a:pt x="0" y="166"/>
                  </a:lnTo>
                  <a:lnTo>
                    <a:pt x="4" y="158"/>
                  </a:lnTo>
                  <a:lnTo>
                    <a:pt x="6" y="144"/>
                  </a:lnTo>
                  <a:lnTo>
                    <a:pt x="6" y="138"/>
                  </a:lnTo>
                  <a:lnTo>
                    <a:pt x="10" y="134"/>
                  </a:lnTo>
                  <a:lnTo>
                    <a:pt x="18" y="124"/>
                  </a:lnTo>
                  <a:lnTo>
                    <a:pt x="24" y="98"/>
                  </a:lnTo>
                  <a:lnTo>
                    <a:pt x="22" y="96"/>
                  </a:lnTo>
                  <a:lnTo>
                    <a:pt x="34" y="56"/>
                  </a:lnTo>
                  <a:lnTo>
                    <a:pt x="28" y="34"/>
                  </a:lnTo>
                  <a:lnTo>
                    <a:pt x="28" y="24"/>
                  </a:lnTo>
                  <a:lnTo>
                    <a:pt x="24" y="16"/>
                  </a:lnTo>
                  <a:lnTo>
                    <a:pt x="30" y="10"/>
                  </a:lnTo>
                  <a:lnTo>
                    <a:pt x="44" y="4"/>
                  </a:lnTo>
                  <a:lnTo>
                    <a:pt x="54" y="0"/>
                  </a:lnTo>
                  <a:lnTo>
                    <a:pt x="64" y="10"/>
                  </a:lnTo>
                  <a:lnTo>
                    <a:pt x="94" y="12"/>
                  </a:lnTo>
                  <a:lnTo>
                    <a:pt x="104" y="4"/>
                  </a:lnTo>
                  <a:lnTo>
                    <a:pt x="110" y="6"/>
                  </a:lnTo>
                  <a:lnTo>
                    <a:pt x="114" y="12"/>
                  </a:lnTo>
                  <a:lnTo>
                    <a:pt x="116" y="18"/>
                  </a:lnTo>
                  <a:lnTo>
                    <a:pt x="132" y="28"/>
                  </a:lnTo>
                  <a:lnTo>
                    <a:pt x="132" y="34"/>
                  </a:lnTo>
                  <a:lnTo>
                    <a:pt x="128" y="38"/>
                  </a:lnTo>
                  <a:lnTo>
                    <a:pt x="106" y="50"/>
                  </a:lnTo>
                  <a:lnTo>
                    <a:pt x="104" y="52"/>
                  </a:lnTo>
                  <a:lnTo>
                    <a:pt x="104" y="62"/>
                  </a:lnTo>
                  <a:lnTo>
                    <a:pt x="106" y="72"/>
                  </a:lnTo>
                  <a:lnTo>
                    <a:pt x="102" y="96"/>
                  </a:lnTo>
                  <a:lnTo>
                    <a:pt x="104" y="116"/>
                  </a:lnTo>
                  <a:lnTo>
                    <a:pt x="102" y="122"/>
                  </a:lnTo>
                  <a:lnTo>
                    <a:pt x="96" y="126"/>
                  </a:lnTo>
                  <a:lnTo>
                    <a:pt x="86" y="126"/>
                  </a:lnTo>
                  <a:lnTo>
                    <a:pt x="82" y="130"/>
                  </a:lnTo>
                  <a:lnTo>
                    <a:pt x="90" y="140"/>
                  </a:lnTo>
                  <a:lnTo>
                    <a:pt x="98" y="154"/>
                  </a:lnTo>
                  <a:lnTo>
                    <a:pt x="102" y="158"/>
                  </a:lnTo>
                  <a:lnTo>
                    <a:pt x="94" y="166"/>
                  </a:lnTo>
                  <a:lnTo>
                    <a:pt x="86" y="180"/>
                  </a:lnTo>
                  <a:lnTo>
                    <a:pt x="84" y="190"/>
                  </a:lnTo>
                  <a:lnTo>
                    <a:pt x="98" y="194"/>
                  </a:lnTo>
                  <a:lnTo>
                    <a:pt x="104" y="200"/>
                  </a:lnTo>
                  <a:lnTo>
                    <a:pt x="90" y="214"/>
                  </a:lnTo>
                  <a:lnTo>
                    <a:pt x="84" y="222"/>
                  </a:lnTo>
                  <a:lnTo>
                    <a:pt x="80" y="24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34">
              <a:extLst>
                <a:ext uri="{FF2B5EF4-FFF2-40B4-BE49-F238E27FC236}">
                  <a16:creationId xmlns:a16="http://schemas.microsoft.com/office/drawing/2014/main" id="{1EF5B09B-44E6-4B7F-AC34-B084B33115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83250" y="4713288"/>
              <a:ext cx="600075" cy="387350"/>
            </a:xfrm>
            <a:custGeom>
              <a:avLst/>
              <a:gdLst>
                <a:gd name="T0" fmla="*/ 16 w 362"/>
                <a:gd name="T1" fmla="*/ 318 h 250"/>
                <a:gd name="T2" fmla="*/ 86 w 362"/>
                <a:gd name="T3" fmla="*/ 306 h 250"/>
                <a:gd name="T4" fmla="*/ 155 w 362"/>
                <a:gd name="T5" fmla="*/ 260 h 250"/>
                <a:gd name="T6" fmla="*/ 260 w 362"/>
                <a:gd name="T7" fmla="*/ 109 h 250"/>
                <a:gd name="T8" fmla="*/ 379 w 362"/>
                <a:gd name="T9" fmla="*/ 63 h 250"/>
                <a:gd name="T10" fmla="*/ 413 w 362"/>
                <a:gd name="T11" fmla="*/ 35 h 250"/>
                <a:gd name="T12" fmla="*/ 486 w 362"/>
                <a:gd name="T13" fmla="*/ 35 h 250"/>
                <a:gd name="T14" fmla="*/ 623 w 362"/>
                <a:gd name="T15" fmla="*/ 53 h 250"/>
                <a:gd name="T16" fmla="*/ 646 w 362"/>
                <a:gd name="T17" fmla="*/ 66 h 250"/>
                <a:gd name="T18" fmla="*/ 673 w 362"/>
                <a:gd name="T19" fmla="*/ 77 h 250"/>
                <a:gd name="T20" fmla="*/ 716 w 362"/>
                <a:gd name="T21" fmla="*/ 66 h 250"/>
                <a:gd name="T22" fmla="*/ 858 w 362"/>
                <a:gd name="T23" fmla="*/ 41 h 250"/>
                <a:gd name="T24" fmla="*/ 890 w 362"/>
                <a:gd name="T25" fmla="*/ 2 h 250"/>
                <a:gd name="T26" fmla="*/ 945 w 362"/>
                <a:gd name="T27" fmla="*/ 0 h 250"/>
                <a:gd name="T28" fmla="*/ 1036 w 362"/>
                <a:gd name="T29" fmla="*/ 93 h 250"/>
                <a:gd name="T30" fmla="*/ 1151 w 362"/>
                <a:gd name="T31" fmla="*/ 185 h 250"/>
                <a:gd name="T32" fmla="*/ 1169 w 362"/>
                <a:gd name="T33" fmla="*/ 265 h 250"/>
                <a:gd name="T34" fmla="*/ 1160 w 362"/>
                <a:gd name="T35" fmla="*/ 368 h 250"/>
                <a:gd name="T36" fmla="*/ 1145 w 362"/>
                <a:gd name="T37" fmla="*/ 388 h 250"/>
                <a:gd name="T38" fmla="*/ 1169 w 362"/>
                <a:gd name="T39" fmla="*/ 409 h 250"/>
                <a:gd name="T40" fmla="*/ 1175 w 362"/>
                <a:gd name="T41" fmla="*/ 409 h 250"/>
                <a:gd name="T42" fmla="*/ 1210 w 362"/>
                <a:gd name="T43" fmla="*/ 437 h 250"/>
                <a:gd name="T44" fmla="*/ 1253 w 362"/>
                <a:gd name="T45" fmla="*/ 424 h 250"/>
                <a:gd name="T46" fmla="*/ 1328 w 362"/>
                <a:gd name="T47" fmla="*/ 409 h 250"/>
                <a:gd name="T48" fmla="*/ 1382 w 362"/>
                <a:gd name="T49" fmla="*/ 421 h 250"/>
                <a:gd name="T50" fmla="*/ 1365 w 362"/>
                <a:gd name="T51" fmla="*/ 465 h 250"/>
                <a:gd name="T52" fmla="*/ 1319 w 362"/>
                <a:gd name="T53" fmla="*/ 493 h 250"/>
                <a:gd name="T54" fmla="*/ 1271 w 362"/>
                <a:gd name="T55" fmla="*/ 509 h 250"/>
                <a:gd name="T56" fmla="*/ 1221 w 362"/>
                <a:gd name="T57" fmla="*/ 586 h 250"/>
                <a:gd name="T58" fmla="*/ 1210 w 362"/>
                <a:gd name="T59" fmla="*/ 647 h 250"/>
                <a:gd name="T60" fmla="*/ 1074 w 362"/>
                <a:gd name="T61" fmla="*/ 621 h 250"/>
                <a:gd name="T62" fmla="*/ 1022 w 362"/>
                <a:gd name="T63" fmla="*/ 606 h 250"/>
                <a:gd name="T64" fmla="*/ 945 w 362"/>
                <a:gd name="T65" fmla="*/ 581 h 250"/>
                <a:gd name="T66" fmla="*/ 778 w 362"/>
                <a:gd name="T67" fmla="*/ 645 h 250"/>
                <a:gd name="T68" fmla="*/ 661 w 362"/>
                <a:gd name="T69" fmla="*/ 621 h 250"/>
                <a:gd name="T70" fmla="*/ 593 w 362"/>
                <a:gd name="T71" fmla="*/ 638 h 250"/>
                <a:gd name="T72" fmla="*/ 491 w 362"/>
                <a:gd name="T73" fmla="*/ 616 h 250"/>
                <a:gd name="T74" fmla="*/ 407 w 362"/>
                <a:gd name="T75" fmla="*/ 628 h 250"/>
                <a:gd name="T76" fmla="*/ 392 w 362"/>
                <a:gd name="T77" fmla="*/ 616 h 250"/>
                <a:gd name="T78" fmla="*/ 382 w 362"/>
                <a:gd name="T79" fmla="*/ 591 h 250"/>
                <a:gd name="T80" fmla="*/ 322 w 362"/>
                <a:gd name="T81" fmla="*/ 564 h 250"/>
                <a:gd name="T82" fmla="*/ 338 w 362"/>
                <a:gd name="T83" fmla="*/ 533 h 250"/>
                <a:gd name="T84" fmla="*/ 353 w 362"/>
                <a:gd name="T85" fmla="*/ 527 h 250"/>
                <a:gd name="T86" fmla="*/ 303 w 362"/>
                <a:gd name="T87" fmla="*/ 517 h 250"/>
                <a:gd name="T88" fmla="*/ 275 w 362"/>
                <a:gd name="T89" fmla="*/ 544 h 250"/>
                <a:gd name="T90" fmla="*/ 232 w 362"/>
                <a:gd name="T91" fmla="*/ 517 h 250"/>
                <a:gd name="T92" fmla="*/ 194 w 362"/>
                <a:gd name="T93" fmla="*/ 503 h 250"/>
                <a:gd name="T94" fmla="*/ 163 w 362"/>
                <a:gd name="T95" fmla="*/ 503 h 250"/>
                <a:gd name="T96" fmla="*/ 169 w 362"/>
                <a:gd name="T97" fmla="*/ 486 h 250"/>
                <a:gd name="T98" fmla="*/ 169 w 362"/>
                <a:gd name="T99" fmla="*/ 478 h 250"/>
                <a:gd name="T100" fmla="*/ 169 w 362"/>
                <a:gd name="T101" fmla="*/ 462 h 250"/>
                <a:gd name="T102" fmla="*/ 179 w 362"/>
                <a:gd name="T103" fmla="*/ 448 h 250"/>
                <a:gd name="T104" fmla="*/ 118 w 362"/>
                <a:gd name="T105" fmla="*/ 431 h 250"/>
                <a:gd name="T106" fmla="*/ 76 w 362"/>
                <a:gd name="T107" fmla="*/ 394 h 250"/>
                <a:gd name="T108" fmla="*/ 70 w 362"/>
                <a:gd name="T109" fmla="*/ 362 h 250"/>
                <a:gd name="T110" fmla="*/ 48 w 362"/>
                <a:gd name="T111" fmla="*/ 348 h 250"/>
                <a:gd name="T112" fmla="*/ 0 w 362"/>
                <a:gd name="T113" fmla="*/ 318 h 25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62"/>
                <a:gd name="T172" fmla="*/ 0 h 250"/>
                <a:gd name="T173" fmla="*/ 362 w 362"/>
                <a:gd name="T174" fmla="*/ 250 h 25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62" h="250">
                  <a:moveTo>
                    <a:pt x="0" y="122"/>
                  </a:moveTo>
                  <a:lnTo>
                    <a:pt x="4" y="122"/>
                  </a:lnTo>
                  <a:lnTo>
                    <a:pt x="8" y="118"/>
                  </a:lnTo>
                  <a:lnTo>
                    <a:pt x="22" y="118"/>
                  </a:lnTo>
                  <a:lnTo>
                    <a:pt x="28" y="114"/>
                  </a:lnTo>
                  <a:lnTo>
                    <a:pt x="40" y="100"/>
                  </a:lnTo>
                  <a:lnTo>
                    <a:pt x="52" y="78"/>
                  </a:lnTo>
                  <a:lnTo>
                    <a:pt x="68" y="42"/>
                  </a:lnTo>
                  <a:lnTo>
                    <a:pt x="78" y="30"/>
                  </a:lnTo>
                  <a:lnTo>
                    <a:pt x="98" y="24"/>
                  </a:lnTo>
                  <a:lnTo>
                    <a:pt x="106" y="16"/>
                  </a:lnTo>
                  <a:lnTo>
                    <a:pt x="108" y="14"/>
                  </a:lnTo>
                  <a:lnTo>
                    <a:pt x="120" y="16"/>
                  </a:lnTo>
                  <a:lnTo>
                    <a:pt x="126" y="14"/>
                  </a:lnTo>
                  <a:lnTo>
                    <a:pt x="142" y="18"/>
                  </a:lnTo>
                  <a:lnTo>
                    <a:pt x="162" y="20"/>
                  </a:lnTo>
                  <a:lnTo>
                    <a:pt x="168" y="18"/>
                  </a:lnTo>
                  <a:lnTo>
                    <a:pt x="168" y="26"/>
                  </a:lnTo>
                  <a:lnTo>
                    <a:pt x="174" y="26"/>
                  </a:lnTo>
                  <a:lnTo>
                    <a:pt x="176" y="30"/>
                  </a:lnTo>
                  <a:lnTo>
                    <a:pt x="182" y="30"/>
                  </a:lnTo>
                  <a:lnTo>
                    <a:pt x="186" y="26"/>
                  </a:lnTo>
                  <a:lnTo>
                    <a:pt x="190" y="20"/>
                  </a:lnTo>
                  <a:lnTo>
                    <a:pt x="224" y="16"/>
                  </a:lnTo>
                  <a:lnTo>
                    <a:pt x="230" y="12"/>
                  </a:lnTo>
                  <a:lnTo>
                    <a:pt x="232" y="2"/>
                  </a:lnTo>
                  <a:lnTo>
                    <a:pt x="242" y="2"/>
                  </a:lnTo>
                  <a:lnTo>
                    <a:pt x="246" y="0"/>
                  </a:lnTo>
                  <a:lnTo>
                    <a:pt x="258" y="4"/>
                  </a:lnTo>
                  <a:lnTo>
                    <a:pt x="270" y="36"/>
                  </a:lnTo>
                  <a:lnTo>
                    <a:pt x="288" y="64"/>
                  </a:lnTo>
                  <a:lnTo>
                    <a:pt x="300" y="72"/>
                  </a:lnTo>
                  <a:lnTo>
                    <a:pt x="306" y="92"/>
                  </a:lnTo>
                  <a:lnTo>
                    <a:pt x="304" y="102"/>
                  </a:lnTo>
                  <a:lnTo>
                    <a:pt x="300" y="128"/>
                  </a:lnTo>
                  <a:lnTo>
                    <a:pt x="302" y="142"/>
                  </a:lnTo>
                  <a:lnTo>
                    <a:pt x="302" y="148"/>
                  </a:lnTo>
                  <a:lnTo>
                    <a:pt x="298" y="150"/>
                  </a:lnTo>
                  <a:lnTo>
                    <a:pt x="302" y="152"/>
                  </a:lnTo>
                  <a:lnTo>
                    <a:pt x="304" y="158"/>
                  </a:lnTo>
                  <a:lnTo>
                    <a:pt x="306" y="158"/>
                  </a:lnTo>
                  <a:lnTo>
                    <a:pt x="308" y="164"/>
                  </a:lnTo>
                  <a:lnTo>
                    <a:pt x="316" y="168"/>
                  </a:lnTo>
                  <a:lnTo>
                    <a:pt x="326" y="170"/>
                  </a:lnTo>
                  <a:lnTo>
                    <a:pt x="326" y="164"/>
                  </a:lnTo>
                  <a:lnTo>
                    <a:pt x="334" y="164"/>
                  </a:lnTo>
                  <a:lnTo>
                    <a:pt x="346" y="158"/>
                  </a:lnTo>
                  <a:lnTo>
                    <a:pt x="358" y="160"/>
                  </a:lnTo>
                  <a:lnTo>
                    <a:pt x="360" y="162"/>
                  </a:lnTo>
                  <a:lnTo>
                    <a:pt x="362" y="170"/>
                  </a:lnTo>
                  <a:lnTo>
                    <a:pt x="356" y="180"/>
                  </a:lnTo>
                  <a:lnTo>
                    <a:pt x="352" y="188"/>
                  </a:lnTo>
                  <a:lnTo>
                    <a:pt x="344" y="190"/>
                  </a:lnTo>
                  <a:lnTo>
                    <a:pt x="338" y="190"/>
                  </a:lnTo>
                  <a:lnTo>
                    <a:pt x="332" y="196"/>
                  </a:lnTo>
                  <a:lnTo>
                    <a:pt x="322" y="210"/>
                  </a:lnTo>
                  <a:lnTo>
                    <a:pt x="318" y="226"/>
                  </a:lnTo>
                  <a:lnTo>
                    <a:pt x="316" y="246"/>
                  </a:lnTo>
                  <a:lnTo>
                    <a:pt x="316" y="250"/>
                  </a:lnTo>
                  <a:lnTo>
                    <a:pt x="304" y="248"/>
                  </a:lnTo>
                  <a:lnTo>
                    <a:pt x="280" y="240"/>
                  </a:lnTo>
                  <a:lnTo>
                    <a:pt x="272" y="234"/>
                  </a:lnTo>
                  <a:lnTo>
                    <a:pt x="266" y="234"/>
                  </a:lnTo>
                  <a:lnTo>
                    <a:pt x="256" y="224"/>
                  </a:lnTo>
                  <a:lnTo>
                    <a:pt x="246" y="224"/>
                  </a:lnTo>
                  <a:lnTo>
                    <a:pt x="234" y="230"/>
                  </a:lnTo>
                  <a:lnTo>
                    <a:pt x="202" y="248"/>
                  </a:lnTo>
                  <a:lnTo>
                    <a:pt x="196" y="248"/>
                  </a:lnTo>
                  <a:lnTo>
                    <a:pt x="172" y="240"/>
                  </a:lnTo>
                  <a:lnTo>
                    <a:pt x="166" y="240"/>
                  </a:lnTo>
                  <a:lnTo>
                    <a:pt x="154" y="246"/>
                  </a:lnTo>
                  <a:lnTo>
                    <a:pt x="148" y="248"/>
                  </a:lnTo>
                  <a:lnTo>
                    <a:pt x="128" y="238"/>
                  </a:lnTo>
                  <a:lnTo>
                    <a:pt x="120" y="238"/>
                  </a:lnTo>
                  <a:lnTo>
                    <a:pt x="106" y="242"/>
                  </a:lnTo>
                  <a:lnTo>
                    <a:pt x="102" y="242"/>
                  </a:lnTo>
                  <a:lnTo>
                    <a:pt x="102" y="238"/>
                  </a:lnTo>
                  <a:lnTo>
                    <a:pt x="106" y="230"/>
                  </a:lnTo>
                  <a:lnTo>
                    <a:pt x="100" y="228"/>
                  </a:lnTo>
                  <a:lnTo>
                    <a:pt x="92" y="224"/>
                  </a:lnTo>
                  <a:lnTo>
                    <a:pt x="84" y="218"/>
                  </a:lnTo>
                  <a:lnTo>
                    <a:pt x="82" y="210"/>
                  </a:lnTo>
                  <a:lnTo>
                    <a:pt x="88" y="206"/>
                  </a:lnTo>
                  <a:lnTo>
                    <a:pt x="94" y="206"/>
                  </a:lnTo>
                  <a:lnTo>
                    <a:pt x="92" y="204"/>
                  </a:lnTo>
                  <a:lnTo>
                    <a:pt x="82" y="196"/>
                  </a:lnTo>
                  <a:lnTo>
                    <a:pt x="78" y="200"/>
                  </a:lnTo>
                  <a:lnTo>
                    <a:pt x="74" y="206"/>
                  </a:lnTo>
                  <a:lnTo>
                    <a:pt x="72" y="210"/>
                  </a:lnTo>
                  <a:lnTo>
                    <a:pt x="64" y="204"/>
                  </a:lnTo>
                  <a:lnTo>
                    <a:pt x="60" y="200"/>
                  </a:lnTo>
                  <a:lnTo>
                    <a:pt x="50" y="200"/>
                  </a:lnTo>
                  <a:lnTo>
                    <a:pt x="50" y="194"/>
                  </a:lnTo>
                  <a:lnTo>
                    <a:pt x="46" y="194"/>
                  </a:lnTo>
                  <a:lnTo>
                    <a:pt x="42" y="194"/>
                  </a:lnTo>
                  <a:lnTo>
                    <a:pt x="40" y="190"/>
                  </a:lnTo>
                  <a:lnTo>
                    <a:pt x="44" y="188"/>
                  </a:lnTo>
                  <a:lnTo>
                    <a:pt x="48" y="186"/>
                  </a:lnTo>
                  <a:lnTo>
                    <a:pt x="44" y="184"/>
                  </a:lnTo>
                  <a:lnTo>
                    <a:pt x="40" y="182"/>
                  </a:lnTo>
                  <a:lnTo>
                    <a:pt x="44" y="178"/>
                  </a:lnTo>
                  <a:lnTo>
                    <a:pt x="46" y="176"/>
                  </a:lnTo>
                  <a:lnTo>
                    <a:pt x="46" y="172"/>
                  </a:lnTo>
                  <a:lnTo>
                    <a:pt x="40" y="170"/>
                  </a:lnTo>
                  <a:lnTo>
                    <a:pt x="30" y="166"/>
                  </a:lnTo>
                  <a:lnTo>
                    <a:pt x="18" y="154"/>
                  </a:lnTo>
                  <a:lnTo>
                    <a:pt x="20" y="152"/>
                  </a:lnTo>
                  <a:lnTo>
                    <a:pt x="18" y="148"/>
                  </a:lnTo>
                  <a:lnTo>
                    <a:pt x="18" y="140"/>
                  </a:lnTo>
                  <a:lnTo>
                    <a:pt x="14" y="140"/>
                  </a:lnTo>
                  <a:lnTo>
                    <a:pt x="12" y="134"/>
                  </a:lnTo>
                  <a:lnTo>
                    <a:pt x="2" y="130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611783F6-B0CF-40E0-8246-D867B357D63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3300" y="4699000"/>
              <a:ext cx="220662" cy="258762"/>
            </a:xfrm>
            <a:custGeom>
              <a:avLst/>
              <a:gdLst>
                <a:gd name="T0" fmla="*/ 14 w 134"/>
                <a:gd name="T1" fmla="*/ 14 h 168"/>
                <a:gd name="T2" fmla="*/ 30 w 134"/>
                <a:gd name="T3" fmla="*/ 14 h 168"/>
                <a:gd name="T4" fmla="*/ 61 w 134"/>
                <a:gd name="T5" fmla="*/ 10 h 168"/>
                <a:gd name="T6" fmla="*/ 96 w 134"/>
                <a:gd name="T7" fmla="*/ 2 h 168"/>
                <a:gd name="T8" fmla="*/ 126 w 134"/>
                <a:gd name="T9" fmla="*/ 0 h 168"/>
                <a:gd name="T10" fmla="*/ 150 w 134"/>
                <a:gd name="T11" fmla="*/ 2 h 168"/>
                <a:gd name="T12" fmla="*/ 166 w 134"/>
                <a:gd name="T13" fmla="*/ 0 h 168"/>
                <a:gd name="T14" fmla="*/ 196 w 134"/>
                <a:gd name="T15" fmla="*/ 19 h 168"/>
                <a:gd name="T16" fmla="*/ 217 w 134"/>
                <a:gd name="T17" fmla="*/ 30 h 168"/>
                <a:gd name="T18" fmla="*/ 233 w 134"/>
                <a:gd name="T19" fmla="*/ 35 h 168"/>
                <a:gd name="T20" fmla="*/ 257 w 134"/>
                <a:gd name="T21" fmla="*/ 35 h 168"/>
                <a:gd name="T22" fmla="*/ 257 w 134"/>
                <a:gd name="T23" fmla="*/ 43 h 168"/>
                <a:gd name="T24" fmla="*/ 260 w 134"/>
                <a:gd name="T25" fmla="*/ 56 h 168"/>
                <a:gd name="T26" fmla="*/ 292 w 134"/>
                <a:gd name="T27" fmla="*/ 41 h 168"/>
                <a:gd name="T28" fmla="*/ 330 w 134"/>
                <a:gd name="T29" fmla="*/ 67 h 168"/>
                <a:gd name="T30" fmla="*/ 353 w 134"/>
                <a:gd name="T31" fmla="*/ 67 h 168"/>
                <a:gd name="T32" fmla="*/ 376 w 134"/>
                <a:gd name="T33" fmla="*/ 78 h 168"/>
                <a:gd name="T34" fmla="*/ 376 w 134"/>
                <a:gd name="T35" fmla="*/ 92 h 168"/>
                <a:gd name="T36" fmla="*/ 376 w 134"/>
                <a:gd name="T37" fmla="*/ 117 h 168"/>
                <a:gd name="T38" fmla="*/ 366 w 134"/>
                <a:gd name="T39" fmla="*/ 143 h 168"/>
                <a:gd name="T40" fmla="*/ 399 w 134"/>
                <a:gd name="T41" fmla="*/ 157 h 168"/>
                <a:gd name="T42" fmla="*/ 419 w 134"/>
                <a:gd name="T43" fmla="*/ 157 h 168"/>
                <a:gd name="T44" fmla="*/ 427 w 134"/>
                <a:gd name="T45" fmla="*/ 167 h 168"/>
                <a:gd name="T46" fmla="*/ 411 w 134"/>
                <a:gd name="T47" fmla="*/ 185 h 168"/>
                <a:gd name="T48" fmla="*/ 427 w 134"/>
                <a:gd name="T49" fmla="*/ 195 h 168"/>
                <a:gd name="T50" fmla="*/ 437 w 134"/>
                <a:gd name="T51" fmla="*/ 211 h 168"/>
                <a:gd name="T52" fmla="*/ 456 w 134"/>
                <a:gd name="T53" fmla="*/ 225 h 168"/>
                <a:gd name="T54" fmla="*/ 480 w 134"/>
                <a:gd name="T55" fmla="*/ 240 h 168"/>
                <a:gd name="T56" fmla="*/ 480 w 134"/>
                <a:gd name="T57" fmla="*/ 262 h 168"/>
                <a:gd name="T58" fmla="*/ 480 w 134"/>
                <a:gd name="T59" fmla="*/ 270 h 168"/>
                <a:gd name="T60" fmla="*/ 502 w 134"/>
                <a:gd name="T61" fmla="*/ 284 h 168"/>
                <a:gd name="T62" fmla="*/ 480 w 134"/>
                <a:gd name="T63" fmla="*/ 290 h 168"/>
                <a:gd name="T64" fmla="*/ 466 w 134"/>
                <a:gd name="T65" fmla="*/ 292 h 168"/>
                <a:gd name="T66" fmla="*/ 450 w 134"/>
                <a:gd name="T67" fmla="*/ 279 h 168"/>
                <a:gd name="T68" fmla="*/ 437 w 134"/>
                <a:gd name="T69" fmla="*/ 290 h 168"/>
                <a:gd name="T70" fmla="*/ 419 w 134"/>
                <a:gd name="T71" fmla="*/ 284 h 168"/>
                <a:gd name="T72" fmla="*/ 404 w 134"/>
                <a:gd name="T73" fmla="*/ 274 h 168"/>
                <a:gd name="T74" fmla="*/ 391 w 134"/>
                <a:gd name="T75" fmla="*/ 279 h 168"/>
                <a:gd name="T76" fmla="*/ 383 w 134"/>
                <a:gd name="T77" fmla="*/ 290 h 168"/>
                <a:gd name="T78" fmla="*/ 376 w 134"/>
                <a:gd name="T79" fmla="*/ 274 h 168"/>
                <a:gd name="T80" fmla="*/ 361 w 134"/>
                <a:gd name="T81" fmla="*/ 270 h 168"/>
                <a:gd name="T82" fmla="*/ 336 w 134"/>
                <a:gd name="T83" fmla="*/ 290 h 168"/>
                <a:gd name="T84" fmla="*/ 345 w 134"/>
                <a:gd name="T85" fmla="*/ 313 h 168"/>
                <a:gd name="T86" fmla="*/ 336 w 134"/>
                <a:gd name="T87" fmla="*/ 328 h 168"/>
                <a:gd name="T88" fmla="*/ 336 w 134"/>
                <a:gd name="T89" fmla="*/ 342 h 168"/>
                <a:gd name="T90" fmla="*/ 307 w 134"/>
                <a:gd name="T91" fmla="*/ 352 h 168"/>
                <a:gd name="T92" fmla="*/ 292 w 134"/>
                <a:gd name="T93" fmla="*/ 370 h 168"/>
                <a:gd name="T94" fmla="*/ 277 w 134"/>
                <a:gd name="T95" fmla="*/ 377 h 168"/>
                <a:gd name="T96" fmla="*/ 277 w 134"/>
                <a:gd name="T97" fmla="*/ 396 h 168"/>
                <a:gd name="T98" fmla="*/ 257 w 134"/>
                <a:gd name="T99" fmla="*/ 407 h 168"/>
                <a:gd name="T100" fmla="*/ 233 w 134"/>
                <a:gd name="T101" fmla="*/ 407 h 168"/>
                <a:gd name="T102" fmla="*/ 226 w 134"/>
                <a:gd name="T103" fmla="*/ 396 h 168"/>
                <a:gd name="T104" fmla="*/ 226 w 134"/>
                <a:gd name="T105" fmla="*/ 370 h 168"/>
                <a:gd name="T106" fmla="*/ 242 w 134"/>
                <a:gd name="T107" fmla="*/ 250 h 168"/>
                <a:gd name="T108" fmla="*/ 107 w 134"/>
                <a:gd name="T109" fmla="*/ 114 h 168"/>
                <a:gd name="T110" fmla="*/ 0 w 134"/>
                <a:gd name="T111" fmla="*/ 30 h 1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34"/>
                <a:gd name="T169" fmla="*/ 0 h 168"/>
                <a:gd name="T170" fmla="*/ 134 w 134"/>
                <a:gd name="T171" fmla="*/ 168 h 1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34" h="168">
                  <a:moveTo>
                    <a:pt x="0" y="12"/>
                  </a:moveTo>
                  <a:lnTo>
                    <a:pt x="2" y="10"/>
                  </a:lnTo>
                  <a:lnTo>
                    <a:pt x="4" y="6"/>
                  </a:lnTo>
                  <a:lnTo>
                    <a:pt x="6" y="8"/>
                  </a:lnTo>
                  <a:lnTo>
                    <a:pt x="8" y="8"/>
                  </a:lnTo>
                  <a:lnTo>
                    <a:pt x="8" y="6"/>
                  </a:lnTo>
                  <a:lnTo>
                    <a:pt x="8" y="2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2" y="6"/>
                  </a:lnTo>
                  <a:lnTo>
                    <a:pt x="24" y="6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2"/>
                  </a:lnTo>
                  <a:lnTo>
                    <a:pt x="58" y="14"/>
                  </a:lnTo>
                  <a:lnTo>
                    <a:pt x="60" y="12"/>
                  </a:lnTo>
                  <a:lnTo>
                    <a:pt x="62" y="14"/>
                  </a:lnTo>
                  <a:lnTo>
                    <a:pt x="66" y="12"/>
                  </a:lnTo>
                  <a:lnTo>
                    <a:pt x="68" y="12"/>
                  </a:lnTo>
                  <a:lnTo>
                    <a:pt x="68" y="14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8" y="18"/>
                  </a:lnTo>
                  <a:lnTo>
                    <a:pt x="70" y="18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2" y="18"/>
                  </a:lnTo>
                  <a:lnTo>
                    <a:pt x="78" y="16"/>
                  </a:lnTo>
                  <a:lnTo>
                    <a:pt x="84" y="20"/>
                  </a:lnTo>
                  <a:lnTo>
                    <a:pt x="86" y="24"/>
                  </a:lnTo>
                  <a:lnTo>
                    <a:pt x="88" y="28"/>
                  </a:lnTo>
                  <a:lnTo>
                    <a:pt x="92" y="30"/>
                  </a:lnTo>
                  <a:lnTo>
                    <a:pt x="94" y="30"/>
                  </a:lnTo>
                  <a:lnTo>
                    <a:pt x="94" y="28"/>
                  </a:lnTo>
                  <a:lnTo>
                    <a:pt x="96" y="28"/>
                  </a:lnTo>
                  <a:lnTo>
                    <a:pt x="98" y="32"/>
                  </a:lnTo>
                  <a:lnTo>
                    <a:pt x="100" y="32"/>
                  </a:lnTo>
                  <a:lnTo>
                    <a:pt x="102" y="34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98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6" y="64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2" y="64"/>
                  </a:lnTo>
                  <a:lnTo>
                    <a:pt x="114" y="64"/>
                  </a:lnTo>
                  <a:lnTo>
                    <a:pt x="114" y="66"/>
                  </a:lnTo>
                  <a:lnTo>
                    <a:pt x="114" y="68"/>
                  </a:lnTo>
                  <a:lnTo>
                    <a:pt x="112" y="70"/>
                  </a:lnTo>
                  <a:lnTo>
                    <a:pt x="112" y="76"/>
                  </a:lnTo>
                  <a:lnTo>
                    <a:pt x="110" y="76"/>
                  </a:lnTo>
                  <a:lnTo>
                    <a:pt x="112" y="80"/>
                  </a:lnTo>
                  <a:lnTo>
                    <a:pt x="114" y="78"/>
                  </a:lnTo>
                  <a:lnTo>
                    <a:pt x="114" y="80"/>
                  </a:lnTo>
                  <a:lnTo>
                    <a:pt x="114" y="82"/>
                  </a:lnTo>
                  <a:lnTo>
                    <a:pt x="114" y="86"/>
                  </a:lnTo>
                  <a:lnTo>
                    <a:pt x="116" y="86"/>
                  </a:lnTo>
                  <a:lnTo>
                    <a:pt x="118" y="88"/>
                  </a:lnTo>
                  <a:lnTo>
                    <a:pt x="120" y="92"/>
                  </a:lnTo>
                  <a:lnTo>
                    <a:pt x="122" y="92"/>
                  </a:lnTo>
                  <a:lnTo>
                    <a:pt x="126" y="94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6" y="108"/>
                  </a:lnTo>
                  <a:lnTo>
                    <a:pt x="126" y="110"/>
                  </a:lnTo>
                  <a:lnTo>
                    <a:pt x="128" y="110"/>
                  </a:lnTo>
                  <a:lnTo>
                    <a:pt x="130" y="112"/>
                  </a:lnTo>
                  <a:lnTo>
                    <a:pt x="132" y="116"/>
                  </a:lnTo>
                  <a:lnTo>
                    <a:pt x="134" y="116"/>
                  </a:lnTo>
                  <a:lnTo>
                    <a:pt x="132" y="118"/>
                  </a:lnTo>
                  <a:lnTo>
                    <a:pt x="128" y="118"/>
                  </a:lnTo>
                  <a:lnTo>
                    <a:pt x="126" y="118"/>
                  </a:lnTo>
                  <a:lnTo>
                    <a:pt x="124" y="120"/>
                  </a:lnTo>
                  <a:lnTo>
                    <a:pt x="122" y="120"/>
                  </a:lnTo>
                  <a:lnTo>
                    <a:pt x="122" y="114"/>
                  </a:lnTo>
                  <a:lnTo>
                    <a:pt x="120" y="114"/>
                  </a:lnTo>
                  <a:lnTo>
                    <a:pt x="118" y="116"/>
                  </a:lnTo>
                  <a:lnTo>
                    <a:pt x="116" y="118"/>
                  </a:lnTo>
                  <a:lnTo>
                    <a:pt x="114" y="120"/>
                  </a:lnTo>
                  <a:lnTo>
                    <a:pt x="112" y="116"/>
                  </a:lnTo>
                  <a:lnTo>
                    <a:pt x="110" y="114"/>
                  </a:lnTo>
                  <a:lnTo>
                    <a:pt x="110" y="112"/>
                  </a:lnTo>
                  <a:lnTo>
                    <a:pt x="108" y="112"/>
                  </a:lnTo>
                  <a:lnTo>
                    <a:pt x="106" y="114"/>
                  </a:lnTo>
                  <a:lnTo>
                    <a:pt x="106" y="116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6"/>
                  </a:lnTo>
                  <a:lnTo>
                    <a:pt x="102" y="118"/>
                  </a:lnTo>
                  <a:lnTo>
                    <a:pt x="100" y="118"/>
                  </a:lnTo>
                  <a:lnTo>
                    <a:pt x="100" y="112"/>
                  </a:lnTo>
                  <a:lnTo>
                    <a:pt x="100" y="110"/>
                  </a:lnTo>
                  <a:lnTo>
                    <a:pt x="98" y="108"/>
                  </a:lnTo>
                  <a:lnTo>
                    <a:pt x="96" y="110"/>
                  </a:lnTo>
                  <a:lnTo>
                    <a:pt x="92" y="112"/>
                  </a:lnTo>
                  <a:lnTo>
                    <a:pt x="88" y="116"/>
                  </a:lnTo>
                  <a:lnTo>
                    <a:pt x="90" y="118"/>
                  </a:lnTo>
                  <a:lnTo>
                    <a:pt x="90" y="122"/>
                  </a:lnTo>
                  <a:lnTo>
                    <a:pt x="90" y="124"/>
                  </a:lnTo>
                  <a:lnTo>
                    <a:pt x="92" y="128"/>
                  </a:lnTo>
                  <a:lnTo>
                    <a:pt x="92" y="130"/>
                  </a:lnTo>
                  <a:lnTo>
                    <a:pt x="90" y="134"/>
                  </a:lnTo>
                  <a:lnTo>
                    <a:pt x="90" y="136"/>
                  </a:lnTo>
                  <a:lnTo>
                    <a:pt x="90" y="138"/>
                  </a:lnTo>
                  <a:lnTo>
                    <a:pt x="90" y="140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2" y="144"/>
                  </a:lnTo>
                  <a:lnTo>
                    <a:pt x="82" y="148"/>
                  </a:lnTo>
                  <a:lnTo>
                    <a:pt x="80" y="150"/>
                  </a:lnTo>
                  <a:lnTo>
                    <a:pt x="78" y="152"/>
                  </a:lnTo>
                  <a:lnTo>
                    <a:pt x="76" y="152"/>
                  </a:lnTo>
                  <a:lnTo>
                    <a:pt x="74" y="154"/>
                  </a:lnTo>
                  <a:lnTo>
                    <a:pt x="72" y="156"/>
                  </a:lnTo>
                  <a:lnTo>
                    <a:pt x="72" y="158"/>
                  </a:lnTo>
                  <a:lnTo>
                    <a:pt x="74" y="162"/>
                  </a:lnTo>
                  <a:lnTo>
                    <a:pt x="74" y="164"/>
                  </a:lnTo>
                  <a:lnTo>
                    <a:pt x="72" y="166"/>
                  </a:lnTo>
                  <a:lnTo>
                    <a:pt x="68" y="166"/>
                  </a:lnTo>
                  <a:lnTo>
                    <a:pt x="66" y="166"/>
                  </a:lnTo>
                  <a:lnTo>
                    <a:pt x="64" y="166"/>
                  </a:lnTo>
                  <a:lnTo>
                    <a:pt x="62" y="166"/>
                  </a:lnTo>
                  <a:lnTo>
                    <a:pt x="62" y="168"/>
                  </a:lnTo>
                  <a:lnTo>
                    <a:pt x="60" y="162"/>
                  </a:lnTo>
                  <a:lnTo>
                    <a:pt x="56" y="160"/>
                  </a:lnTo>
                  <a:lnTo>
                    <a:pt x="60" y="158"/>
                  </a:lnTo>
                  <a:lnTo>
                    <a:pt x="60" y="152"/>
                  </a:lnTo>
                  <a:lnTo>
                    <a:pt x="58" y="138"/>
                  </a:lnTo>
                  <a:lnTo>
                    <a:pt x="62" y="112"/>
                  </a:lnTo>
                  <a:lnTo>
                    <a:pt x="64" y="102"/>
                  </a:lnTo>
                  <a:lnTo>
                    <a:pt x="58" y="82"/>
                  </a:lnTo>
                  <a:lnTo>
                    <a:pt x="46" y="74"/>
                  </a:lnTo>
                  <a:lnTo>
                    <a:pt x="28" y="46"/>
                  </a:lnTo>
                  <a:lnTo>
                    <a:pt x="16" y="14"/>
                  </a:lnTo>
                  <a:lnTo>
                    <a:pt x="4" y="1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7DC76CA4-FB3B-47E6-8FAF-893EDDCB41F4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5775" y="5121275"/>
              <a:ext cx="119062" cy="136525"/>
            </a:xfrm>
            <a:custGeom>
              <a:avLst/>
              <a:gdLst>
                <a:gd name="T0" fmla="*/ 131 w 72"/>
                <a:gd name="T1" fmla="*/ 227 h 88"/>
                <a:gd name="T2" fmla="*/ 96 w 72"/>
                <a:gd name="T3" fmla="*/ 207 h 88"/>
                <a:gd name="T4" fmla="*/ 9 w 72"/>
                <a:gd name="T5" fmla="*/ 159 h 88"/>
                <a:gd name="T6" fmla="*/ 9 w 72"/>
                <a:gd name="T7" fmla="*/ 153 h 88"/>
                <a:gd name="T8" fmla="*/ 0 w 72"/>
                <a:gd name="T9" fmla="*/ 144 h 88"/>
                <a:gd name="T10" fmla="*/ 0 w 72"/>
                <a:gd name="T11" fmla="*/ 133 h 88"/>
                <a:gd name="T12" fmla="*/ 9 w 72"/>
                <a:gd name="T13" fmla="*/ 123 h 88"/>
                <a:gd name="T14" fmla="*/ 14 w 72"/>
                <a:gd name="T15" fmla="*/ 114 h 88"/>
                <a:gd name="T16" fmla="*/ 9 w 72"/>
                <a:gd name="T17" fmla="*/ 103 h 88"/>
                <a:gd name="T18" fmla="*/ 0 w 72"/>
                <a:gd name="T19" fmla="*/ 91 h 88"/>
                <a:gd name="T20" fmla="*/ 0 w 72"/>
                <a:gd name="T21" fmla="*/ 77 h 88"/>
                <a:gd name="T22" fmla="*/ 14 w 72"/>
                <a:gd name="T23" fmla="*/ 66 h 88"/>
                <a:gd name="T24" fmla="*/ 30 w 72"/>
                <a:gd name="T25" fmla="*/ 66 h 88"/>
                <a:gd name="T26" fmla="*/ 30 w 72"/>
                <a:gd name="T27" fmla="*/ 50 h 88"/>
                <a:gd name="T28" fmla="*/ 37 w 72"/>
                <a:gd name="T29" fmla="*/ 41 h 88"/>
                <a:gd name="T30" fmla="*/ 50 w 72"/>
                <a:gd name="T31" fmla="*/ 30 h 88"/>
                <a:gd name="T32" fmla="*/ 70 w 72"/>
                <a:gd name="T33" fmla="*/ 26 h 88"/>
                <a:gd name="T34" fmla="*/ 76 w 72"/>
                <a:gd name="T35" fmla="*/ 35 h 88"/>
                <a:gd name="T36" fmla="*/ 84 w 72"/>
                <a:gd name="T37" fmla="*/ 41 h 88"/>
                <a:gd name="T38" fmla="*/ 84 w 72"/>
                <a:gd name="T39" fmla="*/ 26 h 88"/>
                <a:gd name="T40" fmla="*/ 76 w 72"/>
                <a:gd name="T41" fmla="*/ 11 h 88"/>
                <a:gd name="T42" fmla="*/ 76 w 72"/>
                <a:gd name="T43" fmla="*/ 2 h 88"/>
                <a:gd name="T44" fmla="*/ 89 w 72"/>
                <a:gd name="T45" fmla="*/ 2 h 88"/>
                <a:gd name="T46" fmla="*/ 107 w 72"/>
                <a:gd name="T47" fmla="*/ 0 h 88"/>
                <a:gd name="T48" fmla="*/ 111 w 72"/>
                <a:gd name="T49" fmla="*/ 11 h 88"/>
                <a:gd name="T50" fmla="*/ 137 w 72"/>
                <a:gd name="T51" fmla="*/ 21 h 88"/>
                <a:gd name="T52" fmla="*/ 150 w 72"/>
                <a:gd name="T53" fmla="*/ 30 h 88"/>
                <a:gd name="T54" fmla="*/ 168 w 72"/>
                <a:gd name="T55" fmla="*/ 47 h 88"/>
                <a:gd name="T56" fmla="*/ 182 w 72"/>
                <a:gd name="T57" fmla="*/ 50 h 88"/>
                <a:gd name="T58" fmla="*/ 205 w 72"/>
                <a:gd name="T59" fmla="*/ 56 h 88"/>
                <a:gd name="T60" fmla="*/ 214 w 72"/>
                <a:gd name="T61" fmla="*/ 56 h 88"/>
                <a:gd name="T62" fmla="*/ 219 w 72"/>
                <a:gd name="T63" fmla="*/ 66 h 88"/>
                <a:gd name="T64" fmla="*/ 234 w 72"/>
                <a:gd name="T65" fmla="*/ 74 h 88"/>
                <a:gd name="T66" fmla="*/ 255 w 72"/>
                <a:gd name="T67" fmla="*/ 77 h 88"/>
                <a:gd name="T68" fmla="*/ 257 w 72"/>
                <a:gd name="T69" fmla="*/ 81 h 88"/>
                <a:gd name="T70" fmla="*/ 274 w 72"/>
                <a:gd name="T71" fmla="*/ 91 h 88"/>
                <a:gd name="T72" fmla="*/ 274 w 72"/>
                <a:gd name="T73" fmla="*/ 97 h 88"/>
                <a:gd name="T74" fmla="*/ 257 w 72"/>
                <a:gd name="T75" fmla="*/ 103 h 88"/>
                <a:gd name="T76" fmla="*/ 255 w 72"/>
                <a:gd name="T77" fmla="*/ 107 h 88"/>
                <a:gd name="T78" fmla="*/ 227 w 72"/>
                <a:gd name="T79" fmla="*/ 103 h 88"/>
                <a:gd name="T80" fmla="*/ 219 w 72"/>
                <a:gd name="T81" fmla="*/ 114 h 88"/>
                <a:gd name="T82" fmla="*/ 234 w 72"/>
                <a:gd name="T83" fmla="*/ 114 h 88"/>
                <a:gd name="T84" fmla="*/ 234 w 72"/>
                <a:gd name="T85" fmla="*/ 123 h 88"/>
                <a:gd name="T86" fmla="*/ 205 w 72"/>
                <a:gd name="T87" fmla="*/ 139 h 88"/>
                <a:gd name="T88" fmla="*/ 144 w 72"/>
                <a:gd name="T89" fmla="*/ 151 h 88"/>
                <a:gd name="T90" fmla="*/ 131 w 72"/>
                <a:gd name="T91" fmla="*/ 207 h 88"/>
                <a:gd name="T92" fmla="*/ 131 w 72"/>
                <a:gd name="T93" fmla="*/ 227 h 8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2"/>
                <a:gd name="T142" fmla="*/ 0 h 88"/>
                <a:gd name="T143" fmla="*/ 72 w 72"/>
                <a:gd name="T144" fmla="*/ 88 h 8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2" h="88">
                  <a:moveTo>
                    <a:pt x="34" y="88"/>
                  </a:moveTo>
                  <a:lnTo>
                    <a:pt x="34" y="88"/>
                  </a:lnTo>
                  <a:lnTo>
                    <a:pt x="26" y="84"/>
                  </a:lnTo>
                  <a:lnTo>
                    <a:pt x="26" y="80"/>
                  </a:lnTo>
                  <a:lnTo>
                    <a:pt x="18" y="68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28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6"/>
                  </a:lnTo>
                  <a:lnTo>
                    <a:pt x="8" y="22"/>
                  </a:lnTo>
                  <a:lnTo>
                    <a:pt x="8" y="20"/>
                  </a:lnTo>
                  <a:lnTo>
                    <a:pt x="8" y="18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4" y="12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18" y="12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2" y="16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2" y="0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0"/>
                  </a:lnTo>
                  <a:lnTo>
                    <a:pt x="30" y="2"/>
                  </a:lnTo>
                  <a:lnTo>
                    <a:pt x="30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8" y="10"/>
                  </a:lnTo>
                  <a:lnTo>
                    <a:pt x="40" y="12"/>
                  </a:lnTo>
                  <a:lnTo>
                    <a:pt x="42" y="16"/>
                  </a:lnTo>
                  <a:lnTo>
                    <a:pt x="44" y="18"/>
                  </a:lnTo>
                  <a:lnTo>
                    <a:pt x="46" y="20"/>
                  </a:lnTo>
                  <a:lnTo>
                    <a:pt x="48" y="20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26"/>
                  </a:lnTo>
                  <a:lnTo>
                    <a:pt x="62" y="28"/>
                  </a:lnTo>
                  <a:lnTo>
                    <a:pt x="64" y="30"/>
                  </a:lnTo>
                  <a:lnTo>
                    <a:pt x="66" y="30"/>
                  </a:lnTo>
                  <a:lnTo>
                    <a:pt x="68" y="32"/>
                  </a:lnTo>
                  <a:lnTo>
                    <a:pt x="70" y="34"/>
                  </a:lnTo>
                  <a:lnTo>
                    <a:pt x="72" y="36"/>
                  </a:lnTo>
                  <a:lnTo>
                    <a:pt x="72" y="38"/>
                  </a:lnTo>
                  <a:lnTo>
                    <a:pt x="70" y="38"/>
                  </a:lnTo>
                  <a:lnTo>
                    <a:pt x="68" y="40"/>
                  </a:lnTo>
                  <a:lnTo>
                    <a:pt x="66" y="42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58" y="42"/>
                  </a:lnTo>
                  <a:lnTo>
                    <a:pt x="58" y="44"/>
                  </a:lnTo>
                  <a:lnTo>
                    <a:pt x="60" y="44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0" y="54"/>
                  </a:lnTo>
                  <a:lnTo>
                    <a:pt x="54" y="54"/>
                  </a:lnTo>
                  <a:lnTo>
                    <a:pt x="42" y="52"/>
                  </a:lnTo>
                  <a:lnTo>
                    <a:pt x="38" y="58"/>
                  </a:lnTo>
                  <a:lnTo>
                    <a:pt x="32" y="70"/>
                  </a:lnTo>
                  <a:lnTo>
                    <a:pt x="34" y="80"/>
                  </a:lnTo>
                  <a:lnTo>
                    <a:pt x="34" y="8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BAD99441-BFE4-4A05-8B81-62ADA5E95B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8000" y="4899025"/>
              <a:ext cx="261937" cy="358775"/>
            </a:xfrm>
            <a:custGeom>
              <a:avLst/>
              <a:gdLst>
                <a:gd name="T0" fmla="*/ 510 w 158"/>
                <a:gd name="T1" fmla="*/ 343 h 230"/>
                <a:gd name="T2" fmla="*/ 585 w 158"/>
                <a:gd name="T3" fmla="*/ 461 h 230"/>
                <a:gd name="T4" fmla="*/ 520 w 158"/>
                <a:gd name="T5" fmla="*/ 544 h 230"/>
                <a:gd name="T6" fmla="*/ 496 w 158"/>
                <a:gd name="T7" fmla="*/ 551 h 230"/>
                <a:gd name="T8" fmla="*/ 465 w 158"/>
                <a:gd name="T9" fmla="*/ 551 h 230"/>
                <a:gd name="T10" fmla="*/ 441 w 158"/>
                <a:gd name="T11" fmla="*/ 558 h 230"/>
                <a:gd name="T12" fmla="*/ 411 w 158"/>
                <a:gd name="T13" fmla="*/ 561 h 230"/>
                <a:gd name="T14" fmla="*/ 371 w 158"/>
                <a:gd name="T15" fmla="*/ 571 h 230"/>
                <a:gd name="T16" fmla="*/ 355 w 158"/>
                <a:gd name="T17" fmla="*/ 577 h 230"/>
                <a:gd name="T18" fmla="*/ 325 w 158"/>
                <a:gd name="T19" fmla="*/ 571 h 230"/>
                <a:gd name="T20" fmla="*/ 289 w 158"/>
                <a:gd name="T21" fmla="*/ 595 h 230"/>
                <a:gd name="T22" fmla="*/ 272 w 158"/>
                <a:gd name="T23" fmla="*/ 615 h 230"/>
                <a:gd name="T24" fmla="*/ 185 w 158"/>
                <a:gd name="T25" fmla="*/ 523 h 230"/>
                <a:gd name="T26" fmla="*/ 185 w 158"/>
                <a:gd name="T27" fmla="*/ 497 h 230"/>
                <a:gd name="T28" fmla="*/ 179 w 158"/>
                <a:gd name="T29" fmla="*/ 485 h 230"/>
                <a:gd name="T30" fmla="*/ 211 w 158"/>
                <a:gd name="T31" fmla="*/ 485 h 230"/>
                <a:gd name="T32" fmla="*/ 224 w 158"/>
                <a:gd name="T33" fmla="*/ 476 h 230"/>
                <a:gd name="T34" fmla="*/ 201 w 158"/>
                <a:gd name="T35" fmla="*/ 461 h 230"/>
                <a:gd name="T36" fmla="*/ 169 w 158"/>
                <a:gd name="T37" fmla="*/ 450 h 230"/>
                <a:gd name="T38" fmla="*/ 155 w 158"/>
                <a:gd name="T39" fmla="*/ 437 h 230"/>
                <a:gd name="T40" fmla="*/ 118 w 158"/>
                <a:gd name="T41" fmla="*/ 430 h 230"/>
                <a:gd name="T42" fmla="*/ 86 w 158"/>
                <a:gd name="T43" fmla="*/ 403 h 230"/>
                <a:gd name="T44" fmla="*/ 70 w 158"/>
                <a:gd name="T45" fmla="*/ 375 h 230"/>
                <a:gd name="T46" fmla="*/ 94 w 158"/>
                <a:gd name="T47" fmla="*/ 375 h 230"/>
                <a:gd name="T48" fmla="*/ 100 w 158"/>
                <a:gd name="T49" fmla="*/ 356 h 230"/>
                <a:gd name="T50" fmla="*/ 61 w 158"/>
                <a:gd name="T51" fmla="*/ 315 h 230"/>
                <a:gd name="T52" fmla="*/ 100 w 158"/>
                <a:gd name="T53" fmla="*/ 320 h 230"/>
                <a:gd name="T54" fmla="*/ 118 w 158"/>
                <a:gd name="T55" fmla="*/ 304 h 230"/>
                <a:gd name="T56" fmla="*/ 76 w 158"/>
                <a:gd name="T57" fmla="*/ 290 h 230"/>
                <a:gd name="T58" fmla="*/ 48 w 158"/>
                <a:gd name="T59" fmla="*/ 272 h 230"/>
                <a:gd name="T60" fmla="*/ 48 w 158"/>
                <a:gd name="T61" fmla="*/ 246 h 230"/>
                <a:gd name="T62" fmla="*/ 61 w 158"/>
                <a:gd name="T63" fmla="*/ 219 h 230"/>
                <a:gd name="T64" fmla="*/ 76 w 158"/>
                <a:gd name="T65" fmla="*/ 186 h 230"/>
                <a:gd name="T66" fmla="*/ 31 w 158"/>
                <a:gd name="T67" fmla="*/ 193 h 230"/>
                <a:gd name="T68" fmla="*/ 48 w 158"/>
                <a:gd name="T69" fmla="*/ 181 h 230"/>
                <a:gd name="T70" fmla="*/ 39 w 158"/>
                <a:gd name="T71" fmla="*/ 163 h 230"/>
                <a:gd name="T72" fmla="*/ 48 w 158"/>
                <a:gd name="T73" fmla="*/ 139 h 230"/>
                <a:gd name="T74" fmla="*/ 70 w 158"/>
                <a:gd name="T75" fmla="*/ 145 h 230"/>
                <a:gd name="T76" fmla="*/ 86 w 158"/>
                <a:gd name="T77" fmla="*/ 139 h 230"/>
                <a:gd name="T78" fmla="*/ 61 w 158"/>
                <a:gd name="T79" fmla="*/ 130 h 230"/>
                <a:gd name="T80" fmla="*/ 39 w 158"/>
                <a:gd name="T81" fmla="*/ 118 h 230"/>
                <a:gd name="T82" fmla="*/ 31 w 158"/>
                <a:gd name="T83" fmla="*/ 107 h 230"/>
                <a:gd name="T84" fmla="*/ 39 w 158"/>
                <a:gd name="T85" fmla="*/ 94 h 230"/>
                <a:gd name="T86" fmla="*/ 16 w 158"/>
                <a:gd name="T87" fmla="*/ 86 h 230"/>
                <a:gd name="T88" fmla="*/ 16 w 158"/>
                <a:gd name="T89" fmla="*/ 72 h 230"/>
                <a:gd name="T90" fmla="*/ 0 w 158"/>
                <a:gd name="T91" fmla="*/ 37 h 230"/>
                <a:gd name="T92" fmla="*/ 224 w 158"/>
                <a:gd name="T93" fmla="*/ 26 h 230"/>
                <a:gd name="T94" fmla="*/ 289 w 158"/>
                <a:gd name="T95" fmla="*/ 75 h 230"/>
                <a:gd name="T96" fmla="*/ 371 w 158"/>
                <a:gd name="T97" fmla="*/ 134 h 230"/>
                <a:gd name="T98" fmla="*/ 371 w 158"/>
                <a:gd name="T99" fmla="*/ 165 h 230"/>
                <a:gd name="T100" fmla="*/ 371 w 158"/>
                <a:gd name="T101" fmla="*/ 186 h 230"/>
                <a:gd name="T102" fmla="*/ 411 w 158"/>
                <a:gd name="T103" fmla="*/ 213 h 230"/>
                <a:gd name="T104" fmla="*/ 504 w 158"/>
                <a:gd name="T105" fmla="*/ 229 h 230"/>
                <a:gd name="T106" fmla="*/ 583 w 158"/>
                <a:gd name="T107" fmla="*/ 229 h 230"/>
                <a:gd name="T108" fmla="*/ 573 w 158"/>
                <a:gd name="T109" fmla="*/ 279 h 2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58"/>
                <a:gd name="T166" fmla="*/ 0 h 230"/>
                <a:gd name="T167" fmla="*/ 158 w 158"/>
                <a:gd name="T168" fmla="*/ 230 h 2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58" h="230">
                  <a:moveTo>
                    <a:pt x="148" y="104"/>
                  </a:moveTo>
                  <a:lnTo>
                    <a:pt x="142" y="112"/>
                  </a:lnTo>
                  <a:lnTo>
                    <a:pt x="136" y="120"/>
                  </a:lnTo>
                  <a:lnTo>
                    <a:pt x="132" y="128"/>
                  </a:lnTo>
                  <a:lnTo>
                    <a:pt x="134" y="134"/>
                  </a:lnTo>
                  <a:lnTo>
                    <a:pt x="156" y="160"/>
                  </a:lnTo>
                  <a:lnTo>
                    <a:pt x="158" y="166"/>
                  </a:lnTo>
                  <a:lnTo>
                    <a:pt x="152" y="172"/>
                  </a:lnTo>
                  <a:lnTo>
                    <a:pt x="140" y="180"/>
                  </a:lnTo>
                  <a:lnTo>
                    <a:pt x="134" y="188"/>
                  </a:lnTo>
                  <a:lnTo>
                    <a:pt x="134" y="200"/>
                  </a:lnTo>
                  <a:lnTo>
                    <a:pt x="134" y="204"/>
                  </a:lnTo>
                  <a:lnTo>
                    <a:pt x="132" y="204"/>
                  </a:lnTo>
                  <a:lnTo>
                    <a:pt x="130" y="206"/>
                  </a:lnTo>
                  <a:lnTo>
                    <a:pt x="128" y="206"/>
                  </a:lnTo>
                  <a:lnTo>
                    <a:pt x="124" y="206"/>
                  </a:lnTo>
                  <a:lnTo>
                    <a:pt x="122" y="206"/>
                  </a:lnTo>
                  <a:lnTo>
                    <a:pt x="120" y="206"/>
                  </a:lnTo>
                  <a:lnTo>
                    <a:pt x="118" y="206"/>
                  </a:lnTo>
                  <a:lnTo>
                    <a:pt x="116" y="206"/>
                  </a:lnTo>
                  <a:lnTo>
                    <a:pt x="114" y="208"/>
                  </a:lnTo>
                  <a:lnTo>
                    <a:pt x="112" y="210"/>
                  </a:lnTo>
                  <a:lnTo>
                    <a:pt x="110" y="210"/>
                  </a:lnTo>
                  <a:lnTo>
                    <a:pt x="106" y="210"/>
                  </a:lnTo>
                  <a:lnTo>
                    <a:pt x="102" y="208"/>
                  </a:lnTo>
                  <a:lnTo>
                    <a:pt x="100" y="210"/>
                  </a:lnTo>
                  <a:lnTo>
                    <a:pt x="98" y="214"/>
                  </a:lnTo>
                  <a:lnTo>
                    <a:pt x="96" y="214"/>
                  </a:lnTo>
                  <a:lnTo>
                    <a:pt x="96" y="216"/>
                  </a:lnTo>
                  <a:lnTo>
                    <a:pt x="96" y="218"/>
                  </a:lnTo>
                  <a:lnTo>
                    <a:pt x="94" y="218"/>
                  </a:lnTo>
                  <a:lnTo>
                    <a:pt x="92" y="216"/>
                  </a:lnTo>
                  <a:lnTo>
                    <a:pt x="90" y="214"/>
                  </a:lnTo>
                  <a:lnTo>
                    <a:pt x="88" y="212"/>
                  </a:lnTo>
                  <a:lnTo>
                    <a:pt x="86" y="214"/>
                  </a:lnTo>
                  <a:lnTo>
                    <a:pt x="84" y="214"/>
                  </a:lnTo>
                  <a:lnTo>
                    <a:pt x="80" y="216"/>
                  </a:lnTo>
                  <a:lnTo>
                    <a:pt x="76" y="218"/>
                  </a:lnTo>
                  <a:lnTo>
                    <a:pt x="74" y="222"/>
                  </a:lnTo>
                  <a:lnTo>
                    <a:pt x="74" y="226"/>
                  </a:lnTo>
                  <a:lnTo>
                    <a:pt x="74" y="228"/>
                  </a:lnTo>
                  <a:lnTo>
                    <a:pt x="72" y="230"/>
                  </a:lnTo>
                  <a:lnTo>
                    <a:pt x="70" y="230"/>
                  </a:lnTo>
                  <a:lnTo>
                    <a:pt x="68" y="228"/>
                  </a:lnTo>
                  <a:lnTo>
                    <a:pt x="68" y="226"/>
                  </a:lnTo>
                  <a:lnTo>
                    <a:pt x="54" y="206"/>
                  </a:lnTo>
                  <a:lnTo>
                    <a:pt x="48" y="196"/>
                  </a:lnTo>
                  <a:lnTo>
                    <a:pt x="46" y="196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48" y="186"/>
                  </a:lnTo>
                  <a:lnTo>
                    <a:pt x="46" y="186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50" y="182"/>
                  </a:lnTo>
                  <a:lnTo>
                    <a:pt x="52" y="184"/>
                  </a:lnTo>
                  <a:lnTo>
                    <a:pt x="54" y="182"/>
                  </a:lnTo>
                  <a:lnTo>
                    <a:pt x="56" y="180"/>
                  </a:lnTo>
                  <a:lnTo>
                    <a:pt x="58" y="180"/>
                  </a:lnTo>
                  <a:lnTo>
                    <a:pt x="58" y="178"/>
                  </a:lnTo>
                  <a:lnTo>
                    <a:pt x="56" y="176"/>
                  </a:lnTo>
                  <a:lnTo>
                    <a:pt x="54" y="174"/>
                  </a:lnTo>
                  <a:lnTo>
                    <a:pt x="52" y="172"/>
                  </a:lnTo>
                  <a:lnTo>
                    <a:pt x="50" y="172"/>
                  </a:lnTo>
                  <a:lnTo>
                    <a:pt x="48" y="170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2" y="164"/>
                  </a:lnTo>
                  <a:lnTo>
                    <a:pt x="42" y="166"/>
                  </a:lnTo>
                  <a:lnTo>
                    <a:pt x="40" y="164"/>
                  </a:lnTo>
                  <a:lnTo>
                    <a:pt x="38" y="164"/>
                  </a:lnTo>
                  <a:lnTo>
                    <a:pt x="34" y="162"/>
                  </a:lnTo>
                  <a:lnTo>
                    <a:pt x="32" y="162"/>
                  </a:lnTo>
                  <a:lnTo>
                    <a:pt x="30" y="160"/>
                  </a:lnTo>
                  <a:lnTo>
                    <a:pt x="28" y="158"/>
                  </a:lnTo>
                  <a:lnTo>
                    <a:pt x="26" y="154"/>
                  </a:lnTo>
                  <a:lnTo>
                    <a:pt x="24" y="152"/>
                  </a:lnTo>
                  <a:lnTo>
                    <a:pt x="22" y="150"/>
                  </a:lnTo>
                  <a:lnTo>
                    <a:pt x="18" y="146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8" y="140"/>
                  </a:lnTo>
                  <a:lnTo>
                    <a:pt x="20" y="138"/>
                  </a:lnTo>
                  <a:lnTo>
                    <a:pt x="22" y="138"/>
                  </a:lnTo>
                  <a:lnTo>
                    <a:pt x="24" y="140"/>
                  </a:lnTo>
                  <a:lnTo>
                    <a:pt x="26" y="140"/>
                  </a:lnTo>
                  <a:lnTo>
                    <a:pt x="26" y="136"/>
                  </a:lnTo>
                  <a:lnTo>
                    <a:pt x="26" y="132"/>
                  </a:lnTo>
                  <a:lnTo>
                    <a:pt x="24" y="128"/>
                  </a:lnTo>
                  <a:lnTo>
                    <a:pt x="20" y="124"/>
                  </a:lnTo>
                  <a:lnTo>
                    <a:pt x="18" y="120"/>
                  </a:lnTo>
                  <a:lnTo>
                    <a:pt x="16" y="118"/>
                  </a:lnTo>
                  <a:lnTo>
                    <a:pt x="18" y="118"/>
                  </a:lnTo>
                  <a:lnTo>
                    <a:pt x="22" y="120"/>
                  </a:lnTo>
                  <a:lnTo>
                    <a:pt x="26" y="120"/>
                  </a:lnTo>
                  <a:lnTo>
                    <a:pt x="28" y="118"/>
                  </a:lnTo>
                  <a:lnTo>
                    <a:pt x="30" y="118"/>
                  </a:lnTo>
                  <a:lnTo>
                    <a:pt x="30" y="116"/>
                  </a:lnTo>
                  <a:lnTo>
                    <a:pt x="30" y="114"/>
                  </a:lnTo>
                  <a:lnTo>
                    <a:pt x="26" y="114"/>
                  </a:lnTo>
                  <a:lnTo>
                    <a:pt x="26" y="112"/>
                  </a:lnTo>
                  <a:lnTo>
                    <a:pt x="22" y="110"/>
                  </a:lnTo>
                  <a:lnTo>
                    <a:pt x="20" y="108"/>
                  </a:lnTo>
                  <a:lnTo>
                    <a:pt x="20" y="106"/>
                  </a:lnTo>
                  <a:lnTo>
                    <a:pt x="18" y="102"/>
                  </a:lnTo>
                  <a:lnTo>
                    <a:pt x="16" y="104"/>
                  </a:lnTo>
                  <a:lnTo>
                    <a:pt x="12" y="102"/>
                  </a:lnTo>
                  <a:lnTo>
                    <a:pt x="10" y="100"/>
                  </a:lnTo>
                  <a:lnTo>
                    <a:pt x="10" y="96"/>
                  </a:lnTo>
                  <a:lnTo>
                    <a:pt x="12" y="94"/>
                  </a:lnTo>
                  <a:lnTo>
                    <a:pt x="12" y="92"/>
                  </a:lnTo>
                  <a:lnTo>
                    <a:pt x="12" y="90"/>
                  </a:lnTo>
                  <a:lnTo>
                    <a:pt x="12" y="88"/>
                  </a:lnTo>
                  <a:lnTo>
                    <a:pt x="14" y="86"/>
                  </a:lnTo>
                  <a:lnTo>
                    <a:pt x="16" y="82"/>
                  </a:lnTo>
                  <a:lnTo>
                    <a:pt x="18" y="78"/>
                  </a:lnTo>
                  <a:lnTo>
                    <a:pt x="20" y="74"/>
                  </a:lnTo>
                  <a:lnTo>
                    <a:pt x="20" y="70"/>
                  </a:lnTo>
                  <a:lnTo>
                    <a:pt x="18" y="68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8" y="72"/>
                  </a:lnTo>
                  <a:lnTo>
                    <a:pt x="6" y="70"/>
                  </a:lnTo>
                  <a:lnTo>
                    <a:pt x="8" y="68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0" y="66"/>
                  </a:lnTo>
                  <a:lnTo>
                    <a:pt x="10" y="64"/>
                  </a:lnTo>
                  <a:lnTo>
                    <a:pt x="12" y="62"/>
                  </a:lnTo>
                  <a:lnTo>
                    <a:pt x="10" y="60"/>
                  </a:lnTo>
                  <a:lnTo>
                    <a:pt x="10" y="56"/>
                  </a:lnTo>
                  <a:lnTo>
                    <a:pt x="12" y="56"/>
                  </a:lnTo>
                  <a:lnTo>
                    <a:pt x="14" y="54"/>
                  </a:lnTo>
                  <a:lnTo>
                    <a:pt x="12" y="52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2" y="54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6" y="38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6" y="28"/>
                  </a:lnTo>
                  <a:lnTo>
                    <a:pt x="4" y="26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0" y="14"/>
                  </a:lnTo>
                  <a:lnTo>
                    <a:pt x="26" y="2"/>
                  </a:lnTo>
                  <a:lnTo>
                    <a:pt x="42" y="0"/>
                  </a:lnTo>
                  <a:lnTo>
                    <a:pt x="56" y="2"/>
                  </a:lnTo>
                  <a:lnTo>
                    <a:pt x="58" y="10"/>
                  </a:lnTo>
                  <a:lnTo>
                    <a:pt x="68" y="14"/>
                  </a:lnTo>
                  <a:lnTo>
                    <a:pt x="70" y="20"/>
                  </a:lnTo>
                  <a:lnTo>
                    <a:pt x="74" y="20"/>
                  </a:lnTo>
                  <a:lnTo>
                    <a:pt x="74" y="28"/>
                  </a:lnTo>
                  <a:lnTo>
                    <a:pt x="76" y="32"/>
                  </a:lnTo>
                  <a:lnTo>
                    <a:pt x="74" y="34"/>
                  </a:lnTo>
                  <a:lnTo>
                    <a:pt x="86" y="46"/>
                  </a:lnTo>
                  <a:lnTo>
                    <a:pt x="96" y="50"/>
                  </a:lnTo>
                  <a:lnTo>
                    <a:pt x="102" y="52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96" y="62"/>
                  </a:lnTo>
                  <a:lnTo>
                    <a:pt x="100" y="64"/>
                  </a:lnTo>
                  <a:lnTo>
                    <a:pt x="104" y="66"/>
                  </a:lnTo>
                  <a:lnTo>
                    <a:pt x="100" y="68"/>
                  </a:lnTo>
                  <a:lnTo>
                    <a:pt x="96" y="70"/>
                  </a:lnTo>
                  <a:lnTo>
                    <a:pt x="98" y="74"/>
                  </a:lnTo>
                  <a:lnTo>
                    <a:pt x="102" y="74"/>
                  </a:lnTo>
                  <a:lnTo>
                    <a:pt x="106" y="74"/>
                  </a:lnTo>
                  <a:lnTo>
                    <a:pt x="106" y="80"/>
                  </a:lnTo>
                  <a:lnTo>
                    <a:pt x="116" y="80"/>
                  </a:lnTo>
                  <a:lnTo>
                    <a:pt x="120" y="84"/>
                  </a:lnTo>
                  <a:lnTo>
                    <a:pt x="128" y="90"/>
                  </a:lnTo>
                  <a:lnTo>
                    <a:pt x="130" y="86"/>
                  </a:lnTo>
                  <a:lnTo>
                    <a:pt x="134" y="80"/>
                  </a:lnTo>
                  <a:lnTo>
                    <a:pt x="138" y="76"/>
                  </a:lnTo>
                  <a:lnTo>
                    <a:pt x="148" y="84"/>
                  </a:lnTo>
                  <a:lnTo>
                    <a:pt x="150" y="86"/>
                  </a:lnTo>
                  <a:lnTo>
                    <a:pt x="144" y="86"/>
                  </a:lnTo>
                  <a:lnTo>
                    <a:pt x="138" y="90"/>
                  </a:lnTo>
                  <a:lnTo>
                    <a:pt x="140" y="98"/>
                  </a:lnTo>
                  <a:lnTo>
                    <a:pt x="148" y="10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8">
              <a:extLst>
                <a:ext uri="{FF2B5EF4-FFF2-40B4-BE49-F238E27FC236}">
                  <a16:creationId xmlns:a16="http://schemas.microsoft.com/office/drawing/2014/main" id="{1CD7A38E-FB38-4743-A644-F0F0D76B99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6263" y="4035425"/>
              <a:ext cx="188912" cy="95250"/>
            </a:xfrm>
            <a:custGeom>
              <a:avLst/>
              <a:gdLst>
                <a:gd name="T0" fmla="*/ 16 w 114"/>
                <a:gd name="T1" fmla="*/ 161 h 60"/>
                <a:gd name="T2" fmla="*/ 77 w 114"/>
                <a:gd name="T3" fmla="*/ 161 h 60"/>
                <a:gd name="T4" fmla="*/ 227 w 114"/>
                <a:gd name="T5" fmla="*/ 163 h 60"/>
                <a:gd name="T6" fmla="*/ 428 w 114"/>
                <a:gd name="T7" fmla="*/ 161 h 60"/>
                <a:gd name="T8" fmla="*/ 428 w 114"/>
                <a:gd name="T9" fmla="*/ 153 h 60"/>
                <a:gd name="T10" fmla="*/ 419 w 114"/>
                <a:gd name="T11" fmla="*/ 143 h 60"/>
                <a:gd name="T12" fmla="*/ 419 w 114"/>
                <a:gd name="T13" fmla="*/ 130 h 60"/>
                <a:gd name="T14" fmla="*/ 428 w 114"/>
                <a:gd name="T15" fmla="*/ 116 h 60"/>
                <a:gd name="T16" fmla="*/ 428 w 114"/>
                <a:gd name="T17" fmla="*/ 99 h 60"/>
                <a:gd name="T18" fmla="*/ 444 w 114"/>
                <a:gd name="T19" fmla="*/ 92 h 60"/>
                <a:gd name="T20" fmla="*/ 444 w 114"/>
                <a:gd name="T21" fmla="*/ 84 h 60"/>
                <a:gd name="T22" fmla="*/ 435 w 114"/>
                <a:gd name="T23" fmla="*/ 73 h 60"/>
                <a:gd name="T24" fmla="*/ 428 w 114"/>
                <a:gd name="T25" fmla="*/ 64 h 60"/>
                <a:gd name="T26" fmla="*/ 413 w 114"/>
                <a:gd name="T27" fmla="*/ 62 h 60"/>
                <a:gd name="T28" fmla="*/ 413 w 114"/>
                <a:gd name="T29" fmla="*/ 54 h 60"/>
                <a:gd name="T30" fmla="*/ 403 w 114"/>
                <a:gd name="T31" fmla="*/ 44 h 60"/>
                <a:gd name="T32" fmla="*/ 389 w 114"/>
                <a:gd name="T33" fmla="*/ 44 h 60"/>
                <a:gd name="T34" fmla="*/ 341 w 114"/>
                <a:gd name="T35" fmla="*/ 44 h 60"/>
                <a:gd name="T36" fmla="*/ 327 w 114"/>
                <a:gd name="T37" fmla="*/ 51 h 60"/>
                <a:gd name="T38" fmla="*/ 320 w 114"/>
                <a:gd name="T39" fmla="*/ 39 h 60"/>
                <a:gd name="T40" fmla="*/ 290 w 114"/>
                <a:gd name="T41" fmla="*/ 33 h 60"/>
                <a:gd name="T42" fmla="*/ 265 w 114"/>
                <a:gd name="T43" fmla="*/ 28 h 60"/>
                <a:gd name="T44" fmla="*/ 247 w 114"/>
                <a:gd name="T45" fmla="*/ 15 h 60"/>
                <a:gd name="T46" fmla="*/ 242 w 114"/>
                <a:gd name="T47" fmla="*/ 15 h 60"/>
                <a:gd name="T48" fmla="*/ 233 w 114"/>
                <a:gd name="T49" fmla="*/ 11 h 60"/>
                <a:gd name="T50" fmla="*/ 227 w 114"/>
                <a:gd name="T51" fmla="*/ 0 h 60"/>
                <a:gd name="T52" fmla="*/ 217 w 114"/>
                <a:gd name="T53" fmla="*/ 2 h 60"/>
                <a:gd name="T54" fmla="*/ 196 w 114"/>
                <a:gd name="T55" fmla="*/ 11 h 60"/>
                <a:gd name="T56" fmla="*/ 203 w 114"/>
                <a:gd name="T57" fmla="*/ 33 h 60"/>
                <a:gd name="T58" fmla="*/ 186 w 114"/>
                <a:gd name="T59" fmla="*/ 39 h 60"/>
                <a:gd name="T60" fmla="*/ 203 w 114"/>
                <a:gd name="T61" fmla="*/ 62 h 60"/>
                <a:gd name="T62" fmla="*/ 196 w 114"/>
                <a:gd name="T63" fmla="*/ 84 h 60"/>
                <a:gd name="T64" fmla="*/ 172 w 114"/>
                <a:gd name="T65" fmla="*/ 89 h 60"/>
                <a:gd name="T66" fmla="*/ 138 w 114"/>
                <a:gd name="T67" fmla="*/ 89 h 60"/>
                <a:gd name="T68" fmla="*/ 39 w 114"/>
                <a:gd name="T69" fmla="*/ 84 h 60"/>
                <a:gd name="T70" fmla="*/ 16 w 114"/>
                <a:gd name="T71" fmla="*/ 76 h 60"/>
                <a:gd name="T72" fmla="*/ 0 w 114"/>
                <a:gd name="T73" fmla="*/ 99 h 60"/>
                <a:gd name="T74" fmla="*/ 0 w 114"/>
                <a:gd name="T75" fmla="*/ 137 h 60"/>
                <a:gd name="T76" fmla="*/ 10 w 114"/>
                <a:gd name="T77" fmla="*/ 137 h 60"/>
                <a:gd name="T78" fmla="*/ 16 w 114"/>
                <a:gd name="T79" fmla="*/ 127 h 60"/>
                <a:gd name="T80" fmla="*/ 25 w 114"/>
                <a:gd name="T81" fmla="*/ 137 h 60"/>
                <a:gd name="T82" fmla="*/ 56 w 114"/>
                <a:gd name="T83" fmla="*/ 130 h 60"/>
                <a:gd name="T84" fmla="*/ 70 w 114"/>
                <a:gd name="T85" fmla="*/ 130 h 60"/>
                <a:gd name="T86" fmla="*/ 56 w 114"/>
                <a:gd name="T87" fmla="*/ 137 h 60"/>
                <a:gd name="T88" fmla="*/ 16 w 114"/>
                <a:gd name="T89" fmla="*/ 161 h 60"/>
                <a:gd name="T90" fmla="*/ 16 w 114"/>
                <a:gd name="T91" fmla="*/ 161 h 6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4"/>
                <a:gd name="T139" fmla="*/ 0 h 60"/>
                <a:gd name="T140" fmla="*/ 114 w 114"/>
                <a:gd name="T141" fmla="*/ 60 h 6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4" h="60">
                  <a:moveTo>
                    <a:pt x="4" y="58"/>
                  </a:moveTo>
                  <a:lnTo>
                    <a:pt x="20" y="58"/>
                  </a:lnTo>
                  <a:lnTo>
                    <a:pt x="58" y="60"/>
                  </a:lnTo>
                  <a:lnTo>
                    <a:pt x="110" y="58"/>
                  </a:lnTo>
                  <a:lnTo>
                    <a:pt x="110" y="56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0" y="42"/>
                  </a:lnTo>
                  <a:lnTo>
                    <a:pt x="110" y="36"/>
                  </a:lnTo>
                  <a:lnTo>
                    <a:pt x="114" y="34"/>
                  </a:lnTo>
                  <a:lnTo>
                    <a:pt x="114" y="30"/>
                  </a:lnTo>
                  <a:lnTo>
                    <a:pt x="112" y="26"/>
                  </a:lnTo>
                  <a:lnTo>
                    <a:pt x="110" y="24"/>
                  </a:lnTo>
                  <a:lnTo>
                    <a:pt x="106" y="22"/>
                  </a:lnTo>
                  <a:lnTo>
                    <a:pt x="106" y="20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88" y="16"/>
                  </a:lnTo>
                  <a:lnTo>
                    <a:pt x="84" y="18"/>
                  </a:lnTo>
                  <a:lnTo>
                    <a:pt x="82" y="14"/>
                  </a:lnTo>
                  <a:lnTo>
                    <a:pt x="74" y="12"/>
                  </a:lnTo>
                  <a:lnTo>
                    <a:pt x="68" y="10"/>
                  </a:lnTo>
                  <a:lnTo>
                    <a:pt x="64" y="6"/>
                  </a:lnTo>
                  <a:lnTo>
                    <a:pt x="62" y="6"/>
                  </a:lnTo>
                  <a:lnTo>
                    <a:pt x="60" y="4"/>
                  </a:lnTo>
                  <a:lnTo>
                    <a:pt x="58" y="0"/>
                  </a:lnTo>
                  <a:lnTo>
                    <a:pt x="56" y="2"/>
                  </a:lnTo>
                  <a:lnTo>
                    <a:pt x="50" y="4"/>
                  </a:lnTo>
                  <a:lnTo>
                    <a:pt x="52" y="12"/>
                  </a:lnTo>
                  <a:lnTo>
                    <a:pt x="48" y="14"/>
                  </a:lnTo>
                  <a:lnTo>
                    <a:pt x="52" y="22"/>
                  </a:lnTo>
                  <a:lnTo>
                    <a:pt x="50" y="30"/>
                  </a:lnTo>
                  <a:lnTo>
                    <a:pt x="44" y="32"/>
                  </a:lnTo>
                  <a:lnTo>
                    <a:pt x="36" y="32"/>
                  </a:lnTo>
                  <a:lnTo>
                    <a:pt x="10" y="30"/>
                  </a:lnTo>
                  <a:lnTo>
                    <a:pt x="4" y="28"/>
                  </a:lnTo>
                  <a:lnTo>
                    <a:pt x="0" y="36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4" y="46"/>
                  </a:lnTo>
                  <a:lnTo>
                    <a:pt x="6" y="50"/>
                  </a:lnTo>
                  <a:lnTo>
                    <a:pt x="14" y="48"/>
                  </a:lnTo>
                  <a:lnTo>
                    <a:pt x="18" y="48"/>
                  </a:lnTo>
                  <a:lnTo>
                    <a:pt x="14" y="50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40">
              <a:extLst>
                <a:ext uri="{FF2B5EF4-FFF2-40B4-BE49-F238E27FC236}">
                  <a16:creationId xmlns:a16="http://schemas.microsoft.com/office/drawing/2014/main" id="{1E3F34FB-7BCB-4E71-9324-C6B195E5773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803775" y="4818063"/>
              <a:ext cx="765175" cy="833437"/>
            </a:xfrm>
            <a:custGeom>
              <a:avLst/>
              <a:gdLst>
                <a:gd name="T0" fmla="*/ 275 w 462"/>
                <a:gd name="T1" fmla="*/ 1081 h 536"/>
                <a:gd name="T2" fmla="*/ 255 w 462"/>
                <a:gd name="T3" fmla="*/ 900 h 536"/>
                <a:gd name="T4" fmla="*/ 362 w 462"/>
                <a:gd name="T5" fmla="*/ 867 h 536"/>
                <a:gd name="T6" fmla="*/ 475 w 462"/>
                <a:gd name="T7" fmla="*/ 947 h 536"/>
                <a:gd name="T8" fmla="*/ 413 w 462"/>
                <a:gd name="T9" fmla="*/ 1092 h 536"/>
                <a:gd name="T10" fmla="*/ 344 w 462"/>
                <a:gd name="T11" fmla="*/ 1128 h 536"/>
                <a:gd name="T12" fmla="*/ 1012 w 462"/>
                <a:gd name="T13" fmla="*/ 206 h 536"/>
                <a:gd name="T14" fmla="*/ 881 w 462"/>
                <a:gd name="T15" fmla="*/ 239 h 536"/>
                <a:gd name="T16" fmla="*/ 858 w 462"/>
                <a:gd name="T17" fmla="*/ 281 h 536"/>
                <a:gd name="T18" fmla="*/ 852 w 462"/>
                <a:gd name="T19" fmla="*/ 355 h 536"/>
                <a:gd name="T20" fmla="*/ 1066 w 462"/>
                <a:gd name="T21" fmla="*/ 534 h 536"/>
                <a:gd name="T22" fmla="*/ 1180 w 462"/>
                <a:gd name="T23" fmla="*/ 691 h 536"/>
                <a:gd name="T24" fmla="*/ 1404 w 462"/>
                <a:gd name="T25" fmla="*/ 739 h 536"/>
                <a:gd name="T26" fmla="*/ 1404 w 462"/>
                <a:gd name="T27" fmla="*/ 803 h 536"/>
                <a:gd name="T28" fmla="*/ 1700 w 462"/>
                <a:gd name="T29" fmla="*/ 923 h 536"/>
                <a:gd name="T30" fmla="*/ 1716 w 462"/>
                <a:gd name="T31" fmla="*/ 1008 h 536"/>
                <a:gd name="T32" fmla="*/ 1609 w 462"/>
                <a:gd name="T33" fmla="*/ 954 h 536"/>
                <a:gd name="T34" fmla="*/ 1526 w 462"/>
                <a:gd name="T35" fmla="*/ 945 h 536"/>
                <a:gd name="T36" fmla="*/ 1481 w 462"/>
                <a:gd name="T37" fmla="*/ 1034 h 536"/>
                <a:gd name="T38" fmla="*/ 1573 w 462"/>
                <a:gd name="T39" fmla="*/ 1118 h 536"/>
                <a:gd name="T40" fmla="*/ 1488 w 462"/>
                <a:gd name="T41" fmla="*/ 1191 h 536"/>
                <a:gd name="T42" fmla="*/ 1342 w 462"/>
                <a:gd name="T43" fmla="*/ 1251 h 536"/>
                <a:gd name="T44" fmla="*/ 1395 w 462"/>
                <a:gd name="T45" fmla="*/ 1155 h 536"/>
                <a:gd name="T46" fmla="*/ 1395 w 462"/>
                <a:gd name="T47" fmla="*/ 1065 h 536"/>
                <a:gd name="T48" fmla="*/ 1317 w 462"/>
                <a:gd name="T49" fmla="*/ 992 h 536"/>
                <a:gd name="T50" fmla="*/ 1220 w 462"/>
                <a:gd name="T51" fmla="*/ 897 h 536"/>
                <a:gd name="T52" fmla="*/ 1145 w 462"/>
                <a:gd name="T53" fmla="*/ 873 h 536"/>
                <a:gd name="T54" fmla="*/ 1036 w 462"/>
                <a:gd name="T55" fmla="*/ 817 h 536"/>
                <a:gd name="T56" fmla="*/ 806 w 462"/>
                <a:gd name="T57" fmla="*/ 722 h 536"/>
                <a:gd name="T58" fmla="*/ 560 w 462"/>
                <a:gd name="T59" fmla="*/ 490 h 536"/>
                <a:gd name="T60" fmla="*/ 352 w 462"/>
                <a:gd name="T61" fmla="*/ 386 h 536"/>
                <a:gd name="T62" fmla="*/ 163 w 462"/>
                <a:gd name="T63" fmla="*/ 464 h 536"/>
                <a:gd name="T64" fmla="*/ 48 w 462"/>
                <a:gd name="T65" fmla="*/ 370 h 536"/>
                <a:gd name="T66" fmla="*/ 0 w 462"/>
                <a:gd name="T67" fmla="*/ 290 h 536"/>
                <a:gd name="T68" fmla="*/ 70 w 462"/>
                <a:gd name="T69" fmla="*/ 230 h 536"/>
                <a:gd name="T70" fmla="*/ 155 w 462"/>
                <a:gd name="T71" fmla="*/ 159 h 536"/>
                <a:gd name="T72" fmla="*/ 275 w 462"/>
                <a:gd name="T73" fmla="*/ 89 h 536"/>
                <a:gd name="T74" fmla="*/ 352 w 462"/>
                <a:gd name="T75" fmla="*/ 179 h 536"/>
                <a:gd name="T76" fmla="*/ 429 w 462"/>
                <a:gd name="T77" fmla="*/ 78 h 536"/>
                <a:gd name="T78" fmla="*/ 499 w 462"/>
                <a:gd name="T79" fmla="*/ 101 h 536"/>
                <a:gd name="T80" fmla="*/ 547 w 462"/>
                <a:gd name="T81" fmla="*/ 63 h 536"/>
                <a:gd name="T82" fmla="*/ 575 w 462"/>
                <a:gd name="T83" fmla="*/ 31 h 536"/>
                <a:gd name="T84" fmla="*/ 716 w 462"/>
                <a:gd name="T85" fmla="*/ 15 h 536"/>
                <a:gd name="T86" fmla="*/ 842 w 462"/>
                <a:gd name="T87" fmla="*/ 31 h 536"/>
                <a:gd name="T88" fmla="*/ 1052 w 462"/>
                <a:gd name="T89" fmla="*/ 101 h 536"/>
                <a:gd name="T90" fmla="*/ 1027 w 462"/>
                <a:gd name="T91" fmla="*/ 159 h 536"/>
                <a:gd name="T92" fmla="*/ 1073 w 462"/>
                <a:gd name="T93" fmla="*/ 221 h 536"/>
                <a:gd name="T94" fmla="*/ 1086 w 462"/>
                <a:gd name="T95" fmla="*/ 1360 h 536"/>
                <a:gd name="T96" fmla="*/ 890 w 462"/>
                <a:gd name="T97" fmla="*/ 1261 h 536"/>
                <a:gd name="T98" fmla="*/ 1052 w 462"/>
                <a:gd name="T99" fmla="*/ 1251 h 536"/>
                <a:gd name="T100" fmla="*/ 1317 w 462"/>
                <a:gd name="T101" fmla="*/ 1229 h 536"/>
                <a:gd name="T102" fmla="*/ 1271 w 462"/>
                <a:gd name="T103" fmla="*/ 1342 h 536"/>
                <a:gd name="T104" fmla="*/ 1241 w 462"/>
                <a:gd name="T105" fmla="*/ 1413 h 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62"/>
                <a:gd name="T160" fmla="*/ 0 h 536"/>
                <a:gd name="T161" fmla="*/ 462 w 462"/>
                <a:gd name="T162" fmla="*/ 536 h 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62" h="536">
                  <a:moveTo>
                    <a:pt x="90" y="428"/>
                  </a:moveTo>
                  <a:lnTo>
                    <a:pt x="84" y="426"/>
                  </a:lnTo>
                  <a:lnTo>
                    <a:pt x="80" y="422"/>
                  </a:lnTo>
                  <a:lnTo>
                    <a:pt x="74" y="416"/>
                  </a:lnTo>
                  <a:lnTo>
                    <a:pt x="72" y="410"/>
                  </a:lnTo>
                  <a:lnTo>
                    <a:pt x="76" y="394"/>
                  </a:lnTo>
                  <a:lnTo>
                    <a:pt x="78" y="378"/>
                  </a:lnTo>
                  <a:lnTo>
                    <a:pt x="78" y="366"/>
                  </a:lnTo>
                  <a:lnTo>
                    <a:pt x="74" y="352"/>
                  </a:lnTo>
                  <a:lnTo>
                    <a:pt x="66" y="342"/>
                  </a:lnTo>
                  <a:lnTo>
                    <a:pt x="64" y="336"/>
                  </a:lnTo>
                  <a:lnTo>
                    <a:pt x="68" y="332"/>
                  </a:lnTo>
                  <a:lnTo>
                    <a:pt x="74" y="332"/>
                  </a:lnTo>
                  <a:lnTo>
                    <a:pt x="88" y="332"/>
                  </a:lnTo>
                  <a:lnTo>
                    <a:pt x="94" y="328"/>
                  </a:lnTo>
                  <a:lnTo>
                    <a:pt x="108" y="316"/>
                  </a:lnTo>
                  <a:lnTo>
                    <a:pt x="120" y="330"/>
                  </a:lnTo>
                  <a:lnTo>
                    <a:pt x="128" y="348"/>
                  </a:lnTo>
                  <a:lnTo>
                    <a:pt x="128" y="354"/>
                  </a:lnTo>
                  <a:lnTo>
                    <a:pt x="124" y="360"/>
                  </a:lnTo>
                  <a:lnTo>
                    <a:pt x="120" y="372"/>
                  </a:lnTo>
                  <a:lnTo>
                    <a:pt x="124" y="392"/>
                  </a:lnTo>
                  <a:lnTo>
                    <a:pt x="122" y="404"/>
                  </a:lnTo>
                  <a:lnTo>
                    <a:pt x="116" y="418"/>
                  </a:lnTo>
                  <a:lnTo>
                    <a:pt x="108" y="414"/>
                  </a:lnTo>
                  <a:lnTo>
                    <a:pt x="100" y="416"/>
                  </a:lnTo>
                  <a:lnTo>
                    <a:pt x="96" y="416"/>
                  </a:lnTo>
                  <a:lnTo>
                    <a:pt x="94" y="424"/>
                  </a:lnTo>
                  <a:lnTo>
                    <a:pt x="90" y="428"/>
                  </a:lnTo>
                  <a:close/>
                  <a:moveTo>
                    <a:pt x="280" y="84"/>
                  </a:moveTo>
                  <a:lnTo>
                    <a:pt x="276" y="76"/>
                  </a:lnTo>
                  <a:lnTo>
                    <a:pt x="272" y="76"/>
                  </a:lnTo>
                  <a:lnTo>
                    <a:pt x="266" y="80"/>
                  </a:lnTo>
                  <a:lnTo>
                    <a:pt x="264" y="78"/>
                  </a:lnTo>
                  <a:lnTo>
                    <a:pt x="256" y="76"/>
                  </a:lnTo>
                  <a:lnTo>
                    <a:pt x="254" y="84"/>
                  </a:lnTo>
                  <a:lnTo>
                    <a:pt x="246" y="84"/>
                  </a:lnTo>
                  <a:lnTo>
                    <a:pt x="228" y="94"/>
                  </a:lnTo>
                  <a:lnTo>
                    <a:pt x="230" y="90"/>
                  </a:lnTo>
                  <a:lnTo>
                    <a:pt x="222" y="94"/>
                  </a:lnTo>
                  <a:lnTo>
                    <a:pt x="222" y="100"/>
                  </a:lnTo>
                  <a:lnTo>
                    <a:pt x="218" y="100"/>
                  </a:lnTo>
                  <a:lnTo>
                    <a:pt x="218" y="104"/>
                  </a:lnTo>
                  <a:lnTo>
                    <a:pt x="224" y="106"/>
                  </a:lnTo>
                  <a:lnTo>
                    <a:pt x="224" y="114"/>
                  </a:lnTo>
                  <a:lnTo>
                    <a:pt x="228" y="116"/>
                  </a:lnTo>
                  <a:lnTo>
                    <a:pt x="232" y="122"/>
                  </a:lnTo>
                  <a:lnTo>
                    <a:pt x="230" y="126"/>
                  </a:lnTo>
                  <a:lnTo>
                    <a:pt x="222" y="134"/>
                  </a:lnTo>
                  <a:lnTo>
                    <a:pt x="222" y="140"/>
                  </a:lnTo>
                  <a:lnTo>
                    <a:pt x="226" y="152"/>
                  </a:lnTo>
                  <a:lnTo>
                    <a:pt x="238" y="172"/>
                  </a:lnTo>
                  <a:lnTo>
                    <a:pt x="274" y="194"/>
                  </a:lnTo>
                  <a:lnTo>
                    <a:pt x="278" y="202"/>
                  </a:lnTo>
                  <a:lnTo>
                    <a:pt x="280" y="216"/>
                  </a:lnTo>
                  <a:lnTo>
                    <a:pt x="286" y="228"/>
                  </a:lnTo>
                  <a:lnTo>
                    <a:pt x="292" y="242"/>
                  </a:lnTo>
                  <a:lnTo>
                    <a:pt x="304" y="256"/>
                  </a:lnTo>
                  <a:lnTo>
                    <a:pt x="308" y="262"/>
                  </a:lnTo>
                  <a:lnTo>
                    <a:pt x="316" y="266"/>
                  </a:lnTo>
                  <a:lnTo>
                    <a:pt x="316" y="272"/>
                  </a:lnTo>
                  <a:lnTo>
                    <a:pt x="324" y="276"/>
                  </a:lnTo>
                  <a:lnTo>
                    <a:pt x="344" y="282"/>
                  </a:lnTo>
                  <a:lnTo>
                    <a:pt x="366" y="280"/>
                  </a:lnTo>
                  <a:lnTo>
                    <a:pt x="372" y="282"/>
                  </a:lnTo>
                  <a:lnTo>
                    <a:pt x="372" y="288"/>
                  </a:lnTo>
                  <a:lnTo>
                    <a:pt x="364" y="294"/>
                  </a:lnTo>
                  <a:lnTo>
                    <a:pt x="360" y="300"/>
                  </a:lnTo>
                  <a:lnTo>
                    <a:pt x="366" y="304"/>
                  </a:lnTo>
                  <a:lnTo>
                    <a:pt x="382" y="312"/>
                  </a:lnTo>
                  <a:lnTo>
                    <a:pt x="402" y="320"/>
                  </a:lnTo>
                  <a:lnTo>
                    <a:pt x="416" y="330"/>
                  </a:lnTo>
                  <a:lnTo>
                    <a:pt x="444" y="346"/>
                  </a:lnTo>
                  <a:lnTo>
                    <a:pt x="444" y="350"/>
                  </a:lnTo>
                  <a:lnTo>
                    <a:pt x="456" y="360"/>
                  </a:lnTo>
                  <a:lnTo>
                    <a:pt x="462" y="372"/>
                  </a:lnTo>
                  <a:lnTo>
                    <a:pt x="458" y="380"/>
                  </a:lnTo>
                  <a:lnTo>
                    <a:pt x="456" y="388"/>
                  </a:lnTo>
                  <a:lnTo>
                    <a:pt x="448" y="382"/>
                  </a:lnTo>
                  <a:lnTo>
                    <a:pt x="444" y="378"/>
                  </a:lnTo>
                  <a:lnTo>
                    <a:pt x="442" y="368"/>
                  </a:lnTo>
                  <a:lnTo>
                    <a:pt x="436" y="364"/>
                  </a:lnTo>
                  <a:lnTo>
                    <a:pt x="428" y="362"/>
                  </a:lnTo>
                  <a:lnTo>
                    <a:pt x="420" y="362"/>
                  </a:lnTo>
                  <a:lnTo>
                    <a:pt x="412" y="356"/>
                  </a:lnTo>
                  <a:lnTo>
                    <a:pt x="414" y="352"/>
                  </a:lnTo>
                  <a:lnTo>
                    <a:pt x="408" y="350"/>
                  </a:lnTo>
                  <a:lnTo>
                    <a:pt x="402" y="352"/>
                  </a:lnTo>
                  <a:lnTo>
                    <a:pt x="398" y="358"/>
                  </a:lnTo>
                  <a:lnTo>
                    <a:pt x="394" y="366"/>
                  </a:lnTo>
                  <a:lnTo>
                    <a:pt x="388" y="372"/>
                  </a:lnTo>
                  <a:lnTo>
                    <a:pt x="390" y="378"/>
                  </a:lnTo>
                  <a:lnTo>
                    <a:pt x="386" y="384"/>
                  </a:lnTo>
                  <a:lnTo>
                    <a:pt x="386" y="392"/>
                  </a:lnTo>
                  <a:lnTo>
                    <a:pt x="398" y="398"/>
                  </a:lnTo>
                  <a:lnTo>
                    <a:pt x="410" y="404"/>
                  </a:lnTo>
                  <a:lnTo>
                    <a:pt x="408" y="412"/>
                  </a:lnTo>
                  <a:lnTo>
                    <a:pt x="408" y="422"/>
                  </a:lnTo>
                  <a:lnTo>
                    <a:pt x="410" y="424"/>
                  </a:lnTo>
                  <a:lnTo>
                    <a:pt x="408" y="430"/>
                  </a:lnTo>
                  <a:lnTo>
                    <a:pt x="396" y="430"/>
                  </a:lnTo>
                  <a:lnTo>
                    <a:pt x="388" y="434"/>
                  </a:lnTo>
                  <a:lnTo>
                    <a:pt x="386" y="440"/>
                  </a:lnTo>
                  <a:lnTo>
                    <a:pt x="388" y="452"/>
                  </a:lnTo>
                  <a:lnTo>
                    <a:pt x="378" y="460"/>
                  </a:lnTo>
                  <a:lnTo>
                    <a:pt x="368" y="478"/>
                  </a:lnTo>
                  <a:lnTo>
                    <a:pt x="358" y="480"/>
                  </a:lnTo>
                  <a:lnTo>
                    <a:pt x="354" y="478"/>
                  </a:lnTo>
                  <a:lnTo>
                    <a:pt x="350" y="474"/>
                  </a:lnTo>
                  <a:lnTo>
                    <a:pt x="350" y="464"/>
                  </a:lnTo>
                  <a:lnTo>
                    <a:pt x="358" y="460"/>
                  </a:lnTo>
                  <a:lnTo>
                    <a:pt x="362" y="448"/>
                  </a:lnTo>
                  <a:lnTo>
                    <a:pt x="358" y="444"/>
                  </a:lnTo>
                  <a:lnTo>
                    <a:pt x="364" y="438"/>
                  </a:lnTo>
                  <a:lnTo>
                    <a:pt x="372" y="440"/>
                  </a:lnTo>
                  <a:lnTo>
                    <a:pt x="374" y="436"/>
                  </a:lnTo>
                  <a:lnTo>
                    <a:pt x="372" y="428"/>
                  </a:lnTo>
                  <a:lnTo>
                    <a:pt x="368" y="426"/>
                  </a:lnTo>
                  <a:lnTo>
                    <a:pt x="364" y="404"/>
                  </a:lnTo>
                  <a:lnTo>
                    <a:pt x="358" y="392"/>
                  </a:lnTo>
                  <a:lnTo>
                    <a:pt x="356" y="380"/>
                  </a:lnTo>
                  <a:lnTo>
                    <a:pt x="352" y="372"/>
                  </a:lnTo>
                  <a:lnTo>
                    <a:pt x="348" y="372"/>
                  </a:lnTo>
                  <a:lnTo>
                    <a:pt x="344" y="376"/>
                  </a:lnTo>
                  <a:lnTo>
                    <a:pt x="328" y="366"/>
                  </a:lnTo>
                  <a:lnTo>
                    <a:pt x="324" y="364"/>
                  </a:lnTo>
                  <a:lnTo>
                    <a:pt x="326" y="358"/>
                  </a:lnTo>
                  <a:lnTo>
                    <a:pt x="324" y="348"/>
                  </a:lnTo>
                  <a:lnTo>
                    <a:pt x="318" y="340"/>
                  </a:lnTo>
                  <a:lnTo>
                    <a:pt x="302" y="346"/>
                  </a:lnTo>
                  <a:lnTo>
                    <a:pt x="302" y="344"/>
                  </a:lnTo>
                  <a:lnTo>
                    <a:pt x="308" y="340"/>
                  </a:lnTo>
                  <a:lnTo>
                    <a:pt x="302" y="332"/>
                  </a:lnTo>
                  <a:lnTo>
                    <a:pt x="298" y="332"/>
                  </a:lnTo>
                  <a:lnTo>
                    <a:pt x="290" y="338"/>
                  </a:lnTo>
                  <a:lnTo>
                    <a:pt x="286" y="326"/>
                  </a:lnTo>
                  <a:lnTo>
                    <a:pt x="284" y="320"/>
                  </a:lnTo>
                  <a:lnTo>
                    <a:pt x="280" y="316"/>
                  </a:lnTo>
                  <a:lnTo>
                    <a:pt x="270" y="310"/>
                  </a:lnTo>
                  <a:lnTo>
                    <a:pt x="260" y="310"/>
                  </a:lnTo>
                  <a:lnTo>
                    <a:pt x="250" y="306"/>
                  </a:lnTo>
                  <a:lnTo>
                    <a:pt x="236" y="298"/>
                  </a:lnTo>
                  <a:lnTo>
                    <a:pt x="226" y="288"/>
                  </a:lnTo>
                  <a:lnTo>
                    <a:pt x="210" y="274"/>
                  </a:lnTo>
                  <a:lnTo>
                    <a:pt x="192" y="254"/>
                  </a:lnTo>
                  <a:lnTo>
                    <a:pt x="178" y="246"/>
                  </a:lnTo>
                  <a:lnTo>
                    <a:pt x="164" y="230"/>
                  </a:lnTo>
                  <a:lnTo>
                    <a:pt x="154" y="210"/>
                  </a:lnTo>
                  <a:lnTo>
                    <a:pt x="146" y="186"/>
                  </a:lnTo>
                  <a:lnTo>
                    <a:pt x="140" y="174"/>
                  </a:lnTo>
                  <a:lnTo>
                    <a:pt x="132" y="164"/>
                  </a:lnTo>
                  <a:lnTo>
                    <a:pt x="124" y="158"/>
                  </a:lnTo>
                  <a:lnTo>
                    <a:pt x="102" y="150"/>
                  </a:lnTo>
                  <a:lnTo>
                    <a:pt x="92" y="146"/>
                  </a:lnTo>
                  <a:lnTo>
                    <a:pt x="84" y="146"/>
                  </a:lnTo>
                  <a:lnTo>
                    <a:pt x="66" y="162"/>
                  </a:lnTo>
                  <a:lnTo>
                    <a:pt x="58" y="172"/>
                  </a:lnTo>
                  <a:lnTo>
                    <a:pt x="46" y="174"/>
                  </a:lnTo>
                  <a:lnTo>
                    <a:pt x="42" y="176"/>
                  </a:lnTo>
                  <a:lnTo>
                    <a:pt x="44" y="164"/>
                  </a:lnTo>
                  <a:lnTo>
                    <a:pt x="42" y="158"/>
                  </a:lnTo>
                  <a:lnTo>
                    <a:pt x="28" y="160"/>
                  </a:lnTo>
                  <a:lnTo>
                    <a:pt x="14" y="150"/>
                  </a:lnTo>
                  <a:lnTo>
                    <a:pt x="12" y="140"/>
                  </a:lnTo>
                  <a:lnTo>
                    <a:pt x="18" y="130"/>
                  </a:lnTo>
                  <a:lnTo>
                    <a:pt x="20" y="130"/>
                  </a:lnTo>
                  <a:lnTo>
                    <a:pt x="18" y="122"/>
                  </a:lnTo>
                  <a:lnTo>
                    <a:pt x="8" y="118"/>
                  </a:lnTo>
                  <a:lnTo>
                    <a:pt x="0" y="110"/>
                  </a:lnTo>
                  <a:lnTo>
                    <a:pt x="8" y="104"/>
                  </a:lnTo>
                  <a:lnTo>
                    <a:pt x="12" y="108"/>
                  </a:lnTo>
                  <a:lnTo>
                    <a:pt x="20" y="98"/>
                  </a:lnTo>
                  <a:lnTo>
                    <a:pt x="24" y="92"/>
                  </a:lnTo>
                  <a:lnTo>
                    <a:pt x="18" y="88"/>
                  </a:lnTo>
                  <a:lnTo>
                    <a:pt x="16" y="80"/>
                  </a:lnTo>
                  <a:lnTo>
                    <a:pt x="8" y="72"/>
                  </a:lnTo>
                  <a:lnTo>
                    <a:pt x="18" y="64"/>
                  </a:lnTo>
                  <a:lnTo>
                    <a:pt x="28" y="66"/>
                  </a:lnTo>
                  <a:lnTo>
                    <a:pt x="40" y="60"/>
                  </a:lnTo>
                  <a:lnTo>
                    <a:pt x="50" y="64"/>
                  </a:lnTo>
                  <a:lnTo>
                    <a:pt x="56" y="60"/>
                  </a:lnTo>
                  <a:lnTo>
                    <a:pt x="60" y="50"/>
                  </a:lnTo>
                  <a:lnTo>
                    <a:pt x="60" y="44"/>
                  </a:lnTo>
                  <a:lnTo>
                    <a:pt x="72" y="34"/>
                  </a:lnTo>
                  <a:lnTo>
                    <a:pt x="72" y="44"/>
                  </a:lnTo>
                  <a:lnTo>
                    <a:pt x="82" y="54"/>
                  </a:lnTo>
                  <a:lnTo>
                    <a:pt x="88" y="56"/>
                  </a:lnTo>
                  <a:lnTo>
                    <a:pt x="86" y="60"/>
                  </a:lnTo>
                  <a:lnTo>
                    <a:pt x="92" y="68"/>
                  </a:lnTo>
                  <a:lnTo>
                    <a:pt x="98" y="64"/>
                  </a:lnTo>
                  <a:lnTo>
                    <a:pt x="98" y="52"/>
                  </a:lnTo>
                  <a:lnTo>
                    <a:pt x="104" y="42"/>
                  </a:lnTo>
                  <a:lnTo>
                    <a:pt x="104" y="32"/>
                  </a:lnTo>
                  <a:lnTo>
                    <a:pt x="112" y="30"/>
                  </a:lnTo>
                  <a:lnTo>
                    <a:pt x="114" y="40"/>
                  </a:lnTo>
                  <a:lnTo>
                    <a:pt x="118" y="44"/>
                  </a:lnTo>
                  <a:lnTo>
                    <a:pt x="122" y="42"/>
                  </a:lnTo>
                  <a:lnTo>
                    <a:pt x="122" y="40"/>
                  </a:lnTo>
                  <a:lnTo>
                    <a:pt x="130" y="38"/>
                  </a:lnTo>
                  <a:lnTo>
                    <a:pt x="134" y="46"/>
                  </a:lnTo>
                  <a:lnTo>
                    <a:pt x="138" y="36"/>
                  </a:lnTo>
                  <a:lnTo>
                    <a:pt x="134" y="32"/>
                  </a:lnTo>
                  <a:lnTo>
                    <a:pt x="136" y="26"/>
                  </a:lnTo>
                  <a:lnTo>
                    <a:pt x="142" y="24"/>
                  </a:lnTo>
                  <a:lnTo>
                    <a:pt x="144" y="28"/>
                  </a:lnTo>
                  <a:lnTo>
                    <a:pt x="150" y="30"/>
                  </a:lnTo>
                  <a:lnTo>
                    <a:pt x="150" y="24"/>
                  </a:lnTo>
                  <a:lnTo>
                    <a:pt x="148" y="18"/>
                  </a:lnTo>
                  <a:lnTo>
                    <a:pt x="150" y="12"/>
                  </a:lnTo>
                  <a:lnTo>
                    <a:pt x="162" y="16"/>
                  </a:lnTo>
                  <a:lnTo>
                    <a:pt x="172" y="16"/>
                  </a:lnTo>
                  <a:lnTo>
                    <a:pt x="178" y="6"/>
                  </a:lnTo>
                  <a:lnTo>
                    <a:pt x="184" y="4"/>
                  </a:lnTo>
                  <a:lnTo>
                    <a:pt x="186" y="6"/>
                  </a:lnTo>
                  <a:lnTo>
                    <a:pt x="194" y="2"/>
                  </a:lnTo>
                  <a:lnTo>
                    <a:pt x="200" y="6"/>
                  </a:lnTo>
                  <a:lnTo>
                    <a:pt x="214" y="0"/>
                  </a:lnTo>
                  <a:lnTo>
                    <a:pt x="214" y="8"/>
                  </a:lnTo>
                  <a:lnTo>
                    <a:pt x="220" y="12"/>
                  </a:lnTo>
                  <a:lnTo>
                    <a:pt x="226" y="22"/>
                  </a:lnTo>
                  <a:lnTo>
                    <a:pt x="248" y="28"/>
                  </a:lnTo>
                  <a:lnTo>
                    <a:pt x="264" y="30"/>
                  </a:lnTo>
                  <a:lnTo>
                    <a:pt x="272" y="32"/>
                  </a:lnTo>
                  <a:lnTo>
                    <a:pt x="274" y="38"/>
                  </a:lnTo>
                  <a:lnTo>
                    <a:pt x="264" y="44"/>
                  </a:lnTo>
                  <a:lnTo>
                    <a:pt x="266" y="48"/>
                  </a:lnTo>
                  <a:lnTo>
                    <a:pt x="270" y="48"/>
                  </a:lnTo>
                  <a:lnTo>
                    <a:pt x="274" y="54"/>
                  </a:lnTo>
                  <a:lnTo>
                    <a:pt x="268" y="60"/>
                  </a:lnTo>
                  <a:lnTo>
                    <a:pt x="274" y="62"/>
                  </a:lnTo>
                  <a:lnTo>
                    <a:pt x="270" y="72"/>
                  </a:lnTo>
                  <a:lnTo>
                    <a:pt x="276" y="74"/>
                  </a:lnTo>
                  <a:lnTo>
                    <a:pt x="282" y="78"/>
                  </a:lnTo>
                  <a:lnTo>
                    <a:pt x="280" y="84"/>
                  </a:lnTo>
                  <a:close/>
                  <a:moveTo>
                    <a:pt x="324" y="536"/>
                  </a:moveTo>
                  <a:lnTo>
                    <a:pt x="312" y="534"/>
                  </a:lnTo>
                  <a:lnTo>
                    <a:pt x="298" y="520"/>
                  </a:lnTo>
                  <a:lnTo>
                    <a:pt x="284" y="516"/>
                  </a:lnTo>
                  <a:lnTo>
                    <a:pt x="250" y="498"/>
                  </a:lnTo>
                  <a:lnTo>
                    <a:pt x="236" y="496"/>
                  </a:lnTo>
                  <a:lnTo>
                    <a:pt x="232" y="492"/>
                  </a:lnTo>
                  <a:lnTo>
                    <a:pt x="230" y="486"/>
                  </a:lnTo>
                  <a:lnTo>
                    <a:pt x="232" y="478"/>
                  </a:lnTo>
                  <a:lnTo>
                    <a:pt x="238" y="472"/>
                  </a:lnTo>
                  <a:lnTo>
                    <a:pt x="242" y="468"/>
                  </a:lnTo>
                  <a:lnTo>
                    <a:pt x="252" y="472"/>
                  </a:lnTo>
                  <a:lnTo>
                    <a:pt x="262" y="464"/>
                  </a:lnTo>
                  <a:lnTo>
                    <a:pt x="274" y="474"/>
                  </a:lnTo>
                  <a:lnTo>
                    <a:pt x="282" y="476"/>
                  </a:lnTo>
                  <a:lnTo>
                    <a:pt x="294" y="476"/>
                  </a:lnTo>
                  <a:lnTo>
                    <a:pt x="318" y="472"/>
                  </a:lnTo>
                  <a:lnTo>
                    <a:pt x="342" y="464"/>
                  </a:lnTo>
                  <a:lnTo>
                    <a:pt x="344" y="466"/>
                  </a:lnTo>
                  <a:lnTo>
                    <a:pt x="346" y="470"/>
                  </a:lnTo>
                  <a:lnTo>
                    <a:pt x="344" y="472"/>
                  </a:lnTo>
                  <a:lnTo>
                    <a:pt x="334" y="490"/>
                  </a:lnTo>
                  <a:lnTo>
                    <a:pt x="332" y="500"/>
                  </a:lnTo>
                  <a:lnTo>
                    <a:pt x="332" y="510"/>
                  </a:lnTo>
                  <a:lnTo>
                    <a:pt x="338" y="520"/>
                  </a:lnTo>
                  <a:lnTo>
                    <a:pt x="336" y="524"/>
                  </a:lnTo>
                  <a:lnTo>
                    <a:pt x="328" y="536"/>
                  </a:lnTo>
                  <a:lnTo>
                    <a:pt x="324" y="53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41">
              <a:extLst>
                <a:ext uri="{FF2B5EF4-FFF2-40B4-BE49-F238E27FC236}">
                  <a16:creationId xmlns:a16="http://schemas.microsoft.com/office/drawing/2014/main" id="{6119CCEB-BAF1-4804-B895-55F7F4A248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99125" y="5216525"/>
              <a:ext cx="150812" cy="131762"/>
            </a:xfrm>
            <a:custGeom>
              <a:avLst/>
              <a:gdLst>
                <a:gd name="T0" fmla="*/ 327 w 92"/>
                <a:gd name="T1" fmla="*/ 154 h 84"/>
                <a:gd name="T2" fmla="*/ 296 w 92"/>
                <a:gd name="T3" fmla="*/ 165 h 84"/>
                <a:gd name="T4" fmla="*/ 269 w 92"/>
                <a:gd name="T5" fmla="*/ 177 h 84"/>
                <a:gd name="T6" fmla="*/ 224 w 92"/>
                <a:gd name="T7" fmla="*/ 177 h 84"/>
                <a:gd name="T8" fmla="*/ 204 w 92"/>
                <a:gd name="T9" fmla="*/ 171 h 84"/>
                <a:gd name="T10" fmla="*/ 181 w 92"/>
                <a:gd name="T11" fmla="*/ 182 h 84"/>
                <a:gd name="T12" fmla="*/ 150 w 92"/>
                <a:gd name="T13" fmla="*/ 209 h 84"/>
                <a:gd name="T14" fmla="*/ 118 w 92"/>
                <a:gd name="T15" fmla="*/ 219 h 84"/>
                <a:gd name="T16" fmla="*/ 63 w 92"/>
                <a:gd name="T17" fmla="*/ 226 h 84"/>
                <a:gd name="T18" fmla="*/ 21 w 92"/>
                <a:gd name="T19" fmla="*/ 189 h 84"/>
                <a:gd name="T20" fmla="*/ 2 w 92"/>
                <a:gd name="T21" fmla="*/ 145 h 84"/>
                <a:gd name="T22" fmla="*/ 0 w 92"/>
                <a:gd name="T23" fmla="*/ 107 h 84"/>
                <a:gd name="T24" fmla="*/ 2 w 92"/>
                <a:gd name="T25" fmla="*/ 79 h 84"/>
                <a:gd name="T26" fmla="*/ 2 w 92"/>
                <a:gd name="T27" fmla="*/ 64 h 84"/>
                <a:gd name="T28" fmla="*/ 14 w 92"/>
                <a:gd name="T29" fmla="*/ 72 h 84"/>
                <a:gd name="T30" fmla="*/ 21 w 92"/>
                <a:gd name="T31" fmla="*/ 72 h 84"/>
                <a:gd name="T32" fmla="*/ 30 w 92"/>
                <a:gd name="T33" fmla="*/ 64 h 84"/>
                <a:gd name="T34" fmla="*/ 30 w 92"/>
                <a:gd name="T35" fmla="*/ 61 h 84"/>
                <a:gd name="T36" fmla="*/ 30 w 92"/>
                <a:gd name="T37" fmla="*/ 47 h 84"/>
                <a:gd name="T38" fmla="*/ 37 w 92"/>
                <a:gd name="T39" fmla="*/ 37 h 84"/>
                <a:gd name="T40" fmla="*/ 37 w 92"/>
                <a:gd name="T41" fmla="*/ 37 h 84"/>
                <a:gd name="T42" fmla="*/ 50 w 92"/>
                <a:gd name="T43" fmla="*/ 31 h 84"/>
                <a:gd name="T44" fmla="*/ 63 w 92"/>
                <a:gd name="T45" fmla="*/ 26 h 84"/>
                <a:gd name="T46" fmla="*/ 72 w 92"/>
                <a:gd name="T47" fmla="*/ 26 h 84"/>
                <a:gd name="T48" fmla="*/ 78 w 92"/>
                <a:gd name="T49" fmla="*/ 21 h 84"/>
                <a:gd name="T50" fmla="*/ 88 w 92"/>
                <a:gd name="T51" fmla="*/ 26 h 84"/>
                <a:gd name="T52" fmla="*/ 95 w 92"/>
                <a:gd name="T53" fmla="*/ 31 h 84"/>
                <a:gd name="T54" fmla="*/ 102 w 92"/>
                <a:gd name="T55" fmla="*/ 37 h 84"/>
                <a:gd name="T56" fmla="*/ 109 w 92"/>
                <a:gd name="T57" fmla="*/ 37 h 84"/>
                <a:gd name="T58" fmla="*/ 109 w 92"/>
                <a:gd name="T59" fmla="*/ 31 h 84"/>
                <a:gd name="T60" fmla="*/ 109 w 92"/>
                <a:gd name="T61" fmla="*/ 26 h 84"/>
                <a:gd name="T62" fmla="*/ 118 w 92"/>
                <a:gd name="T63" fmla="*/ 26 h 84"/>
                <a:gd name="T64" fmla="*/ 121 w 92"/>
                <a:gd name="T65" fmla="*/ 15 h 84"/>
                <a:gd name="T66" fmla="*/ 133 w 92"/>
                <a:gd name="T67" fmla="*/ 11 h 84"/>
                <a:gd name="T68" fmla="*/ 146 w 92"/>
                <a:gd name="T69" fmla="*/ 15 h 84"/>
                <a:gd name="T70" fmla="*/ 146 w 92"/>
                <a:gd name="T71" fmla="*/ 15 h 84"/>
                <a:gd name="T72" fmla="*/ 160 w 92"/>
                <a:gd name="T73" fmla="*/ 15 h 84"/>
                <a:gd name="T74" fmla="*/ 167 w 92"/>
                <a:gd name="T75" fmla="*/ 15 h 84"/>
                <a:gd name="T76" fmla="*/ 172 w 92"/>
                <a:gd name="T77" fmla="*/ 11 h 84"/>
                <a:gd name="T78" fmla="*/ 181 w 92"/>
                <a:gd name="T79" fmla="*/ 2 h 84"/>
                <a:gd name="T80" fmla="*/ 186 w 92"/>
                <a:gd name="T81" fmla="*/ 2 h 84"/>
                <a:gd name="T82" fmla="*/ 186 w 92"/>
                <a:gd name="T83" fmla="*/ 2 h 84"/>
                <a:gd name="T84" fmla="*/ 197 w 92"/>
                <a:gd name="T85" fmla="*/ 2 h 84"/>
                <a:gd name="T86" fmla="*/ 204 w 92"/>
                <a:gd name="T87" fmla="*/ 2 h 84"/>
                <a:gd name="T88" fmla="*/ 209 w 92"/>
                <a:gd name="T89" fmla="*/ 2 h 84"/>
                <a:gd name="T90" fmla="*/ 209 w 92"/>
                <a:gd name="T91" fmla="*/ 2 h 84"/>
                <a:gd name="T92" fmla="*/ 224 w 92"/>
                <a:gd name="T93" fmla="*/ 2 h 84"/>
                <a:gd name="T94" fmla="*/ 230 w 92"/>
                <a:gd name="T95" fmla="*/ 2 h 84"/>
                <a:gd name="T96" fmla="*/ 239 w 92"/>
                <a:gd name="T97" fmla="*/ 0 h 84"/>
                <a:gd name="T98" fmla="*/ 245 w 92"/>
                <a:gd name="T99" fmla="*/ 0 h 84"/>
                <a:gd name="T100" fmla="*/ 245 w 92"/>
                <a:gd name="T101" fmla="*/ 0 h 84"/>
                <a:gd name="T102" fmla="*/ 245 w 92"/>
                <a:gd name="T103" fmla="*/ 2 h 84"/>
                <a:gd name="T104" fmla="*/ 255 w 92"/>
                <a:gd name="T105" fmla="*/ 21 h 84"/>
                <a:gd name="T106" fmla="*/ 296 w 92"/>
                <a:gd name="T107" fmla="*/ 37 h 84"/>
                <a:gd name="T108" fmla="*/ 317 w 92"/>
                <a:gd name="T109" fmla="*/ 64 h 84"/>
                <a:gd name="T110" fmla="*/ 333 w 92"/>
                <a:gd name="T111" fmla="*/ 91 h 84"/>
                <a:gd name="T112" fmla="*/ 333 w 92"/>
                <a:gd name="T113" fmla="*/ 123 h 84"/>
                <a:gd name="T114" fmla="*/ 327 w 92"/>
                <a:gd name="T115" fmla="*/ 139 h 84"/>
                <a:gd name="T116" fmla="*/ 327 w 92"/>
                <a:gd name="T117" fmla="*/ 154 h 84"/>
                <a:gd name="T118" fmla="*/ 327 w 92"/>
                <a:gd name="T119" fmla="*/ 154 h 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2"/>
                <a:gd name="T181" fmla="*/ 0 h 84"/>
                <a:gd name="T182" fmla="*/ 92 w 92"/>
                <a:gd name="T183" fmla="*/ 84 h 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2" h="84">
                  <a:moveTo>
                    <a:pt x="90" y="58"/>
                  </a:moveTo>
                  <a:lnTo>
                    <a:pt x="82" y="62"/>
                  </a:lnTo>
                  <a:lnTo>
                    <a:pt x="74" y="66"/>
                  </a:lnTo>
                  <a:lnTo>
                    <a:pt x="62" y="66"/>
                  </a:lnTo>
                  <a:lnTo>
                    <a:pt x="56" y="64"/>
                  </a:lnTo>
                  <a:lnTo>
                    <a:pt x="50" y="68"/>
                  </a:lnTo>
                  <a:lnTo>
                    <a:pt x="42" y="78"/>
                  </a:lnTo>
                  <a:lnTo>
                    <a:pt x="32" y="82"/>
                  </a:lnTo>
                  <a:lnTo>
                    <a:pt x="18" y="84"/>
                  </a:lnTo>
                  <a:lnTo>
                    <a:pt x="6" y="70"/>
                  </a:lnTo>
                  <a:lnTo>
                    <a:pt x="2" y="54"/>
                  </a:lnTo>
                  <a:lnTo>
                    <a:pt x="0" y="40"/>
                  </a:lnTo>
                  <a:lnTo>
                    <a:pt x="2" y="3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6"/>
                  </a:lnTo>
                  <a:lnTo>
                    <a:pt x="8" y="24"/>
                  </a:lnTo>
                  <a:lnTo>
                    <a:pt x="8" y="22"/>
                  </a:lnTo>
                  <a:lnTo>
                    <a:pt x="8" y="18"/>
                  </a:lnTo>
                  <a:lnTo>
                    <a:pt x="10" y="14"/>
                  </a:lnTo>
                  <a:lnTo>
                    <a:pt x="14" y="12"/>
                  </a:lnTo>
                  <a:lnTo>
                    <a:pt x="18" y="10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4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40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68" y="2"/>
                  </a:lnTo>
                  <a:lnTo>
                    <a:pt x="70" y="8"/>
                  </a:lnTo>
                  <a:lnTo>
                    <a:pt x="82" y="14"/>
                  </a:lnTo>
                  <a:lnTo>
                    <a:pt x="88" y="24"/>
                  </a:lnTo>
                  <a:lnTo>
                    <a:pt x="92" y="34"/>
                  </a:lnTo>
                  <a:lnTo>
                    <a:pt x="92" y="46"/>
                  </a:lnTo>
                  <a:lnTo>
                    <a:pt x="90" y="52"/>
                  </a:lnTo>
                  <a:lnTo>
                    <a:pt x="90" y="58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42">
              <a:extLst>
                <a:ext uri="{FF2B5EF4-FFF2-40B4-BE49-F238E27FC236}">
                  <a16:creationId xmlns:a16="http://schemas.microsoft.com/office/drawing/2014/main" id="{0390D002-2D9C-4A21-96D4-377D39FA64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7075" y="5060950"/>
              <a:ext cx="398462" cy="250825"/>
            </a:xfrm>
            <a:custGeom>
              <a:avLst/>
              <a:gdLst>
                <a:gd name="T0" fmla="*/ 10 w 240"/>
                <a:gd name="T1" fmla="*/ 244 h 162"/>
                <a:gd name="T2" fmla="*/ 31 w 240"/>
                <a:gd name="T3" fmla="*/ 192 h 162"/>
                <a:gd name="T4" fmla="*/ 100 w 240"/>
                <a:gd name="T5" fmla="*/ 155 h 162"/>
                <a:gd name="T6" fmla="*/ 10 w 240"/>
                <a:gd name="T7" fmla="*/ 76 h 162"/>
                <a:gd name="T8" fmla="*/ 16 w 240"/>
                <a:gd name="T9" fmla="*/ 41 h 162"/>
                <a:gd name="T10" fmla="*/ 61 w 240"/>
                <a:gd name="T11" fmla="*/ 0 h 162"/>
                <a:gd name="T12" fmla="*/ 118 w 240"/>
                <a:gd name="T13" fmla="*/ 15 h 162"/>
                <a:gd name="T14" fmla="*/ 100 w 240"/>
                <a:gd name="T15" fmla="*/ 46 h 162"/>
                <a:gd name="T16" fmla="*/ 169 w 240"/>
                <a:gd name="T17" fmla="*/ 35 h 162"/>
                <a:gd name="T18" fmla="*/ 275 w 240"/>
                <a:gd name="T19" fmla="*/ 63 h 162"/>
                <a:gd name="T20" fmla="*/ 344 w 240"/>
                <a:gd name="T21" fmla="*/ 41 h 162"/>
                <a:gd name="T22" fmla="*/ 460 w 240"/>
                <a:gd name="T23" fmla="*/ 63 h 162"/>
                <a:gd name="T24" fmla="*/ 606 w 240"/>
                <a:gd name="T25" fmla="*/ 15 h 162"/>
                <a:gd name="T26" fmla="*/ 686 w 240"/>
                <a:gd name="T27" fmla="*/ 0 h 162"/>
                <a:gd name="T28" fmla="*/ 749 w 240"/>
                <a:gd name="T29" fmla="*/ 26 h 162"/>
                <a:gd name="T30" fmla="*/ 869 w 240"/>
                <a:gd name="T31" fmla="*/ 63 h 162"/>
                <a:gd name="T32" fmla="*/ 911 w 240"/>
                <a:gd name="T33" fmla="*/ 88 h 162"/>
                <a:gd name="T34" fmla="*/ 888 w 240"/>
                <a:gd name="T35" fmla="*/ 105 h 162"/>
                <a:gd name="T36" fmla="*/ 850 w 240"/>
                <a:gd name="T37" fmla="*/ 115 h 162"/>
                <a:gd name="T38" fmla="*/ 819 w 240"/>
                <a:gd name="T39" fmla="*/ 192 h 162"/>
                <a:gd name="T40" fmla="*/ 789 w 240"/>
                <a:gd name="T41" fmla="*/ 209 h 162"/>
                <a:gd name="T42" fmla="*/ 763 w 240"/>
                <a:gd name="T43" fmla="*/ 246 h 162"/>
                <a:gd name="T44" fmla="*/ 804 w 240"/>
                <a:gd name="T45" fmla="*/ 257 h 162"/>
                <a:gd name="T46" fmla="*/ 826 w 240"/>
                <a:gd name="T47" fmla="*/ 287 h 162"/>
                <a:gd name="T48" fmla="*/ 743 w 240"/>
                <a:gd name="T49" fmla="*/ 302 h 162"/>
                <a:gd name="T50" fmla="*/ 673 w 240"/>
                <a:gd name="T51" fmla="*/ 297 h 162"/>
                <a:gd name="T52" fmla="*/ 595 w 240"/>
                <a:gd name="T53" fmla="*/ 344 h 162"/>
                <a:gd name="T54" fmla="*/ 549 w 240"/>
                <a:gd name="T55" fmla="*/ 352 h 162"/>
                <a:gd name="T56" fmla="*/ 549 w 240"/>
                <a:gd name="T57" fmla="*/ 390 h 162"/>
                <a:gd name="T58" fmla="*/ 451 w 240"/>
                <a:gd name="T59" fmla="*/ 408 h 162"/>
                <a:gd name="T60" fmla="*/ 314 w 240"/>
                <a:gd name="T61" fmla="*/ 366 h 162"/>
                <a:gd name="T62" fmla="*/ 224 w 240"/>
                <a:gd name="T63" fmla="*/ 381 h 162"/>
                <a:gd name="T64" fmla="*/ 94 w 240"/>
                <a:gd name="T65" fmla="*/ 399 h 162"/>
                <a:gd name="T66" fmla="*/ 100 w 240"/>
                <a:gd name="T67" fmla="*/ 366 h 162"/>
                <a:gd name="T68" fmla="*/ 86 w 240"/>
                <a:gd name="T69" fmla="*/ 313 h 162"/>
                <a:gd name="T70" fmla="*/ 16 w 240"/>
                <a:gd name="T71" fmla="*/ 273 h 162"/>
                <a:gd name="T72" fmla="*/ 10 w 240"/>
                <a:gd name="T73" fmla="*/ 253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40"/>
                <a:gd name="T112" fmla="*/ 0 h 162"/>
                <a:gd name="T113" fmla="*/ 240 w 240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40" h="162">
                  <a:moveTo>
                    <a:pt x="2" y="100"/>
                  </a:moveTo>
                  <a:lnTo>
                    <a:pt x="2" y="96"/>
                  </a:lnTo>
                  <a:lnTo>
                    <a:pt x="2" y="84"/>
                  </a:lnTo>
                  <a:lnTo>
                    <a:pt x="8" y="76"/>
                  </a:lnTo>
                  <a:lnTo>
                    <a:pt x="20" y="68"/>
                  </a:lnTo>
                  <a:lnTo>
                    <a:pt x="26" y="62"/>
                  </a:lnTo>
                  <a:lnTo>
                    <a:pt x="24" y="56"/>
                  </a:lnTo>
                  <a:lnTo>
                    <a:pt x="2" y="30"/>
                  </a:lnTo>
                  <a:lnTo>
                    <a:pt x="0" y="24"/>
                  </a:lnTo>
                  <a:lnTo>
                    <a:pt x="4" y="16"/>
                  </a:lnTo>
                  <a:lnTo>
                    <a:pt x="10" y="8"/>
                  </a:lnTo>
                  <a:lnTo>
                    <a:pt x="16" y="0"/>
                  </a:lnTo>
                  <a:lnTo>
                    <a:pt x="24" y="4"/>
                  </a:lnTo>
                  <a:lnTo>
                    <a:pt x="30" y="6"/>
                  </a:lnTo>
                  <a:lnTo>
                    <a:pt x="26" y="14"/>
                  </a:lnTo>
                  <a:lnTo>
                    <a:pt x="26" y="18"/>
                  </a:lnTo>
                  <a:lnTo>
                    <a:pt x="30" y="18"/>
                  </a:lnTo>
                  <a:lnTo>
                    <a:pt x="44" y="14"/>
                  </a:lnTo>
                  <a:lnTo>
                    <a:pt x="52" y="14"/>
                  </a:lnTo>
                  <a:lnTo>
                    <a:pt x="72" y="24"/>
                  </a:lnTo>
                  <a:lnTo>
                    <a:pt x="78" y="22"/>
                  </a:lnTo>
                  <a:lnTo>
                    <a:pt x="90" y="16"/>
                  </a:lnTo>
                  <a:lnTo>
                    <a:pt x="96" y="16"/>
                  </a:lnTo>
                  <a:lnTo>
                    <a:pt x="120" y="24"/>
                  </a:lnTo>
                  <a:lnTo>
                    <a:pt x="126" y="24"/>
                  </a:lnTo>
                  <a:lnTo>
                    <a:pt x="158" y="6"/>
                  </a:lnTo>
                  <a:lnTo>
                    <a:pt x="170" y="0"/>
                  </a:lnTo>
                  <a:lnTo>
                    <a:pt x="180" y="0"/>
                  </a:lnTo>
                  <a:lnTo>
                    <a:pt x="190" y="10"/>
                  </a:lnTo>
                  <a:lnTo>
                    <a:pt x="196" y="10"/>
                  </a:lnTo>
                  <a:lnTo>
                    <a:pt x="204" y="16"/>
                  </a:lnTo>
                  <a:lnTo>
                    <a:pt x="228" y="24"/>
                  </a:lnTo>
                  <a:lnTo>
                    <a:pt x="240" y="26"/>
                  </a:lnTo>
                  <a:lnTo>
                    <a:pt x="238" y="34"/>
                  </a:lnTo>
                  <a:lnTo>
                    <a:pt x="238" y="42"/>
                  </a:lnTo>
                  <a:lnTo>
                    <a:pt x="232" y="42"/>
                  </a:lnTo>
                  <a:lnTo>
                    <a:pt x="228" y="42"/>
                  </a:lnTo>
                  <a:lnTo>
                    <a:pt x="222" y="46"/>
                  </a:lnTo>
                  <a:lnTo>
                    <a:pt x="216" y="62"/>
                  </a:lnTo>
                  <a:lnTo>
                    <a:pt x="214" y="76"/>
                  </a:lnTo>
                  <a:lnTo>
                    <a:pt x="214" y="80"/>
                  </a:lnTo>
                  <a:lnTo>
                    <a:pt x="206" y="82"/>
                  </a:lnTo>
                  <a:lnTo>
                    <a:pt x="202" y="92"/>
                  </a:lnTo>
                  <a:lnTo>
                    <a:pt x="200" y="98"/>
                  </a:lnTo>
                  <a:lnTo>
                    <a:pt x="204" y="96"/>
                  </a:lnTo>
                  <a:lnTo>
                    <a:pt x="210" y="102"/>
                  </a:lnTo>
                  <a:lnTo>
                    <a:pt x="210" y="106"/>
                  </a:lnTo>
                  <a:lnTo>
                    <a:pt x="216" y="114"/>
                  </a:lnTo>
                  <a:lnTo>
                    <a:pt x="216" y="120"/>
                  </a:lnTo>
                  <a:lnTo>
                    <a:pt x="194" y="120"/>
                  </a:lnTo>
                  <a:lnTo>
                    <a:pt x="184" y="116"/>
                  </a:lnTo>
                  <a:lnTo>
                    <a:pt x="176" y="118"/>
                  </a:lnTo>
                  <a:lnTo>
                    <a:pt x="166" y="126"/>
                  </a:lnTo>
                  <a:lnTo>
                    <a:pt x="156" y="136"/>
                  </a:lnTo>
                  <a:lnTo>
                    <a:pt x="150" y="136"/>
                  </a:lnTo>
                  <a:lnTo>
                    <a:pt x="144" y="140"/>
                  </a:lnTo>
                  <a:lnTo>
                    <a:pt x="146" y="148"/>
                  </a:lnTo>
                  <a:lnTo>
                    <a:pt x="144" y="154"/>
                  </a:lnTo>
                  <a:lnTo>
                    <a:pt x="126" y="162"/>
                  </a:lnTo>
                  <a:lnTo>
                    <a:pt x="118" y="162"/>
                  </a:lnTo>
                  <a:lnTo>
                    <a:pt x="108" y="156"/>
                  </a:lnTo>
                  <a:lnTo>
                    <a:pt x="82" y="146"/>
                  </a:lnTo>
                  <a:lnTo>
                    <a:pt x="72" y="146"/>
                  </a:lnTo>
                  <a:lnTo>
                    <a:pt x="58" y="152"/>
                  </a:lnTo>
                  <a:lnTo>
                    <a:pt x="26" y="158"/>
                  </a:lnTo>
                  <a:lnTo>
                    <a:pt x="24" y="158"/>
                  </a:lnTo>
                  <a:lnTo>
                    <a:pt x="24" y="152"/>
                  </a:lnTo>
                  <a:lnTo>
                    <a:pt x="26" y="146"/>
                  </a:lnTo>
                  <a:lnTo>
                    <a:pt x="26" y="134"/>
                  </a:lnTo>
                  <a:lnTo>
                    <a:pt x="22" y="124"/>
                  </a:lnTo>
                  <a:lnTo>
                    <a:pt x="16" y="114"/>
                  </a:lnTo>
                  <a:lnTo>
                    <a:pt x="4" y="108"/>
                  </a:lnTo>
                  <a:lnTo>
                    <a:pt x="2" y="102"/>
                  </a:lnTo>
                  <a:lnTo>
                    <a:pt x="2" y="10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43">
              <a:extLst>
                <a:ext uri="{FF2B5EF4-FFF2-40B4-BE49-F238E27FC236}">
                  <a16:creationId xmlns:a16="http://schemas.microsoft.com/office/drawing/2014/main" id="{8967AF46-24FF-4FCA-9730-448800037D3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9750" y="5200650"/>
              <a:ext cx="109537" cy="234950"/>
            </a:xfrm>
            <a:custGeom>
              <a:avLst/>
              <a:gdLst>
                <a:gd name="T0" fmla="*/ 124 w 66"/>
                <a:gd name="T1" fmla="*/ 392 h 152"/>
                <a:gd name="T2" fmla="*/ 118 w 66"/>
                <a:gd name="T3" fmla="*/ 386 h 152"/>
                <a:gd name="T4" fmla="*/ 109 w 66"/>
                <a:gd name="T5" fmla="*/ 361 h 152"/>
                <a:gd name="T6" fmla="*/ 78 w 66"/>
                <a:gd name="T7" fmla="*/ 335 h 152"/>
                <a:gd name="T8" fmla="*/ 10 w 66"/>
                <a:gd name="T9" fmla="*/ 299 h 152"/>
                <a:gd name="T10" fmla="*/ 10 w 66"/>
                <a:gd name="T11" fmla="*/ 294 h 152"/>
                <a:gd name="T12" fmla="*/ 31 w 66"/>
                <a:gd name="T13" fmla="*/ 299 h 152"/>
                <a:gd name="T14" fmla="*/ 31 w 66"/>
                <a:gd name="T15" fmla="*/ 283 h 152"/>
                <a:gd name="T16" fmla="*/ 10 w 66"/>
                <a:gd name="T17" fmla="*/ 256 h 152"/>
                <a:gd name="T18" fmla="*/ 31 w 66"/>
                <a:gd name="T19" fmla="*/ 222 h 152"/>
                <a:gd name="T20" fmla="*/ 25 w 66"/>
                <a:gd name="T21" fmla="*/ 210 h 152"/>
                <a:gd name="T22" fmla="*/ 31 w 66"/>
                <a:gd name="T23" fmla="*/ 177 h 152"/>
                <a:gd name="T24" fmla="*/ 16 w 66"/>
                <a:gd name="T25" fmla="*/ 160 h 152"/>
                <a:gd name="T26" fmla="*/ 31 w 66"/>
                <a:gd name="T27" fmla="*/ 133 h 152"/>
                <a:gd name="T28" fmla="*/ 48 w 66"/>
                <a:gd name="T29" fmla="*/ 130 h 152"/>
                <a:gd name="T30" fmla="*/ 48 w 66"/>
                <a:gd name="T31" fmla="*/ 103 h 152"/>
                <a:gd name="T32" fmla="*/ 25 w 66"/>
                <a:gd name="T33" fmla="*/ 100 h 152"/>
                <a:gd name="T34" fmla="*/ 10 w 66"/>
                <a:gd name="T35" fmla="*/ 91 h 152"/>
                <a:gd name="T36" fmla="*/ 10 w 66"/>
                <a:gd name="T37" fmla="*/ 74 h 152"/>
                <a:gd name="T38" fmla="*/ 0 w 66"/>
                <a:gd name="T39" fmla="*/ 47 h 152"/>
                <a:gd name="T40" fmla="*/ 25 w 66"/>
                <a:gd name="T41" fmla="*/ 15 h 152"/>
                <a:gd name="T42" fmla="*/ 39 w 66"/>
                <a:gd name="T43" fmla="*/ 0 h 152"/>
                <a:gd name="T44" fmla="*/ 87 w 66"/>
                <a:gd name="T45" fmla="*/ 2 h 152"/>
                <a:gd name="T46" fmla="*/ 109 w 66"/>
                <a:gd name="T47" fmla="*/ 2 h 152"/>
                <a:gd name="T48" fmla="*/ 118 w 66"/>
                <a:gd name="T49" fmla="*/ 2 h 152"/>
                <a:gd name="T50" fmla="*/ 143 w 66"/>
                <a:gd name="T51" fmla="*/ 30 h 152"/>
                <a:gd name="T52" fmla="*/ 196 w 66"/>
                <a:gd name="T53" fmla="*/ 81 h 152"/>
                <a:gd name="T54" fmla="*/ 196 w 66"/>
                <a:gd name="T55" fmla="*/ 88 h 152"/>
                <a:gd name="T56" fmla="*/ 196 w 66"/>
                <a:gd name="T57" fmla="*/ 103 h 152"/>
                <a:gd name="T58" fmla="*/ 186 w 66"/>
                <a:gd name="T59" fmla="*/ 130 h 152"/>
                <a:gd name="T60" fmla="*/ 196 w 66"/>
                <a:gd name="T61" fmla="*/ 166 h 152"/>
                <a:gd name="T62" fmla="*/ 215 w 66"/>
                <a:gd name="T63" fmla="*/ 207 h 152"/>
                <a:gd name="T64" fmla="*/ 260 w 66"/>
                <a:gd name="T65" fmla="*/ 242 h 152"/>
                <a:gd name="T66" fmla="*/ 253 w 66"/>
                <a:gd name="T67" fmla="*/ 242 h 152"/>
                <a:gd name="T68" fmla="*/ 231 w 66"/>
                <a:gd name="T69" fmla="*/ 294 h 152"/>
                <a:gd name="T70" fmla="*/ 196 w 66"/>
                <a:gd name="T71" fmla="*/ 315 h 152"/>
                <a:gd name="T72" fmla="*/ 167 w 66"/>
                <a:gd name="T73" fmla="*/ 342 h 152"/>
                <a:gd name="T74" fmla="*/ 124 w 66"/>
                <a:gd name="T75" fmla="*/ 392 h 152"/>
                <a:gd name="T76" fmla="*/ 124 w 66"/>
                <a:gd name="T77" fmla="*/ 392 h 1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152"/>
                <a:gd name="T119" fmla="*/ 66 w 66"/>
                <a:gd name="T120" fmla="*/ 152 h 1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152">
                  <a:moveTo>
                    <a:pt x="32" y="152"/>
                  </a:moveTo>
                  <a:lnTo>
                    <a:pt x="30" y="150"/>
                  </a:lnTo>
                  <a:lnTo>
                    <a:pt x="28" y="140"/>
                  </a:lnTo>
                  <a:lnTo>
                    <a:pt x="20" y="130"/>
                  </a:lnTo>
                  <a:lnTo>
                    <a:pt x="2" y="116"/>
                  </a:lnTo>
                  <a:lnTo>
                    <a:pt x="2" y="114"/>
                  </a:lnTo>
                  <a:lnTo>
                    <a:pt x="8" y="116"/>
                  </a:lnTo>
                  <a:lnTo>
                    <a:pt x="8" y="110"/>
                  </a:lnTo>
                  <a:lnTo>
                    <a:pt x="2" y="100"/>
                  </a:lnTo>
                  <a:lnTo>
                    <a:pt x="8" y="86"/>
                  </a:lnTo>
                  <a:lnTo>
                    <a:pt x="6" y="82"/>
                  </a:lnTo>
                  <a:lnTo>
                    <a:pt x="8" y="68"/>
                  </a:lnTo>
                  <a:lnTo>
                    <a:pt x="4" y="62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0"/>
                  </a:lnTo>
                  <a:lnTo>
                    <a:pt x="6" y="38"/>
                  </a:lnTo>
                  <a:lnTo>
                    <a:pt x="2" y="36"/>
                  </a:lnTo>
                  <a:lnTo>
                    <a:pt x="2" y="28"/>
                  </a:lnTo>
                  <a:lnTo>
                    <a:pt x="0" y="18"/>
                  </a:lnTo>
                  <a:lnTo>
                    <a:pt x="6" y="6"/>
                  </a:lnTo>
                  <a:lnTo>
                    <a:pt x="10" y="0"/>
                  </a:lnTo>
                  <a:lnTo>
                    <a:pt x="22" y="2"/>
                  </a:lnTo>
                  <a:lnTo>
                    <a:pt x="28" y="2"/>
                  </a:lnTo>
                  <a:lnTo>
                    <a:pt x="30" y="2"/>
                  </a:lnTo>
                  <a:lnTo>
                    <a:pt x="36" y="12"/>
                  </a:lnTo>
                  <a:lnTo>
                    <a:pt x="50" y="32"/>
                  </a:lnTo>
                  <a:lnTo>
                    <a:pt x="50" y="34"/>
                  </a:lnTo>
                  <a:lnTo>
                    <a:pt x="50" y="40"/>
                  </a:lnTo>
                  <a:lnTo>
                    <a:pt x="48" y="50"/>
                  </a:lnTo>
                  <a:lnTo>
                    <a:pt x="50" y="64"/>
                  </a:lnTo>
                  <a:lnTo>
                    <a:pt x="54" y="80"/>
                  </a:lnTo>
                  <a:lnTo>
                    <a:pt x="66" y="94"/>
                  </a:lnTo>
                  <a:lnTo>
                    <a:pt x="64" y="94"/>
                  </a:lnTo>
                  <a:lnTo>
                    <a:pt x="58" y="114"/>
                  </a:lnTo>
                  <a:lnTo>
                    <a:pt x="50" y="122"/>
                  </a:lnTo>
                  <a:lnTo>
                    <a:pt x="42" y="132"/>
                  </a:lnTo>
                  <a:lnTo>
                    <a:pt x="32" y="15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44">
              <a:extLst>
                <a:ext uri="{FF2B5EF4-FFF2-40B4-BE49-F238E27FC236}">
                  <a16:creationId xmlns:a16="http://schemas.microsoft.com/office/drawing/2014/main" id="{C196E0F3-99F7-41D0-B996-D3B3643A400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72138" y="5273675"/>
              <a:ext cx="412750" cy="509587"/>
            </a:xfrm>
            <a:custGeom>
              <a:avLst/>
              <a:gdLst>
                <a:gd name="T0" fmla="*/ 577 w 250"/>
                <a:gd name="T1" fmla="*/ 826 h 328"/>
                <a:gd name="T2" fmla="*/ 500 w 250"/>
                <a:gd name="T3" fmla="*/ 784 h 328"/>
                <a:gd name="T4" fmla="*/ 535 w 250"/>
                <a:gd name="T5" fmla="*/ 772 h 328"/>
                <a:gd name="T6" fmla="*/ 577 w 250"/>
                <a:gd name="T7" fmla="*/ 779 h 328"/>
                <a:gd name="T8" fmla="*/ 585 w 250"/>
                <a:gd name="T9" fmla="*/ 790 h 328"/>
                <a:gd name="T10" fmla="*/ 632 w 250"/>
                <a:gd name="T11" fmla="*/ 808 h 328"/>
                <a:gd name="T12" fmla="*/ 779 w 250"/>
                <a:gd name="T13" fmla="*/ 817 h 328"/>
                <a:gd name="T14" fmla="*/ 831 w 250"/>
                <a:gd name="T15" fmla="*/ 838 h 328"/>
                <a:gd name="T16" fmla="*/ 890 w 250"/>
                <a:gd name="T17" fmla="*/ 822 h 328"/>
                <a:gd name="T18" fmla="*/ 856 w 250"/>
                <a:gd name="T19" fmla="*/ 847 h 328"/>
                <a:gd name="T20" fmla="*/ 0 w 250"/>
                <a:gd name="T21" fmla="*/ 277 h 328"/>
                <a:gd name="T22" fmla="*/ 133 w 250"/>
                <a:gd name="T23" fmla="*/ 124 h 328"/>
                <a:gd name="T24" fmla="*/ 303 w 250"/>
                <a:gd name="T25" fmla="*/ 77 h 328"/>
                <a:gd name="T26" fmla="*/ 537 w 250"/>
                <a:gd name="T27" fmla="*/ 42 h 328"/>
                <a:gd name="T28" fmla="*/ 801 w 250"/>
                <a:gd name="T29" fmla="*/ 68 h 328"/>
                <a:gd name="T30" fmla="*/ 916 w 250"/>
                <a:gd name="T31" fmla="*/ 0 h 328"/>
                <a:gd name="T32" fmla="*/ 890 w 250"/>
                <a:gd name="T33" fmla="*/ 101 h 328"/>
                <a:gd name="T34" fmla="*/ 722 w 250"/>
                <a:gd name="T35" fmla="*/ 94 h 328"/>
                <a:gd name="T36" fmla="*/ 646 w 250"/>
                <a:gd name="T37" fmla="*/ 89 h 328"/>
                <a:gd name="T38" fmla="*/ 535 w 250"/>
                <a:gd name="T39" fmla="*/ 117 h 328"/>
                <a:gd name="T40" fmla="*/ 562 w 250"/>
                <a:gd name="T41" fmla="*/ 164 h 328"/>
                <a:gd name="T42" fmla="*/ 562 w 250"/>
                <a:gd name="T43" fmla="*/ 171 h 328"/>
                <a:gd name="T44" fmla="*/ 523 w 250"/>
                <a:gd name="T45" fmla="*/ 189 h 328"/>
                <a:gd name="T46" fmla="*/ 537 w 250"/>
                <a:gd name="T47" fmla="*/ 221 h 328"/>
                <a:gd name="T48" fmla="*/ 471 w 250"/>
                <a:gd name="T49" fmla="*/ 189 h 328"/>
                <a:gd name="T50" fmla="*/ 500 w 250"/>
                <a:gd name="T51" fmla="*/ 221 h 328"/>
                <a:gd name="T52" fmla="*/ 461 w 250"/>
                <a:gd name="T53" fmla="*/ 227 h 328"/>
                <a:gd name="T54" fmla="*/ 387 w 250"/>
                <a:gd name="T55" fmla="*/ 156 h 328"/>
                <a:gd name="T56" fmla="*/ 379 w 250"/>
                <a:gd name="T57" fmla="*/ 141 h 328"/>
                <a:gd name="T58" fmla="*/ 353 w 250"/>
                <a:gd name="T59" fmla="*/ 208 h 328"/>
                <a:gd name="T60" fmla="*/ 439 w 250"/>
                <a:gd name="T61" fmla="*/ 298 h 328"/>
                <a:gd name="T62" fmla="*/ 429 w 250"/>
                <a:gd name="T63" fmla="*/ 316 h 328"/>
                <a:gd name="T64" fmla="*/ 392 w 250"/>
                <a:gd name="T65" fmla="*/ 325 h 328"/>
                <a:gd name="T66" fmla="*/ 363 w 250"/>
                <a:gd name="T67" fmla="*/ 366 h 328"/>
                <a:gd name="T68" fmla="*/ 447 w 250"/>
                <a:gd name="T69" fmla="*/ 393 h 328"/>
                <a:gd name="T70" fmla="*/ 523 w 250"/>
                <a:gd name="T71" fmla="*/ 435 h 328"/>
                <a:gd name="T72" fmla="*/ 568 w 250"/>
                <a:gd name="T73" fmla="*/ 509 h 328"/>
                <a:gd name="T74" fmla="*/ 500 w 250"/>
                <a:gd name="T75" fmla="*/ 477 h 328"/>
                <a:gd name="T76" fmla="*/ 411 w 250"/>
                <a:gd name="T77" fmla="*/ 492 h 328"/>
                <a:gd name="T78" fmla="*/ 454 w 250"/>
                <a:gd name="T79" fmla="*/ 528 h 328"/>
                <a:gd name="T80" fmla="*/ 454 w 250"/>
                <a:gd name="T81" fmla="*/ 560 h 328"/>
                <a:gd name="T82" fmla="*/ 387 w 250"/>
                <a:gd name="T83" fmla="*/ 539 h 328"/>
                <a:gd name="T84" fmla="*/ 392 w 250"/>
                <a:gd name="T85" fmla="*/ 587 h 328"/>
                <a:gd name="T86" fmla="*/ 332 w 250"/>
                <a:gd name="T87" fmla="*/ 664 h 328"/>
                <a:gd name="T88" fmla="*/ 209 w 250"/>
                <a:gd name="T89" fmla="*/ 589 h 328"/>
                <a:gd name="T90" fmla="*/ 163 w 250"/>
                <a:gd name="T91" fmla="*/ 501 h 328"/>
                <a:gd name="T92" fmla="*/ 278 w 250"/>
                <a:gd name="T93" fmla="*/ 446 h 328"/>
                <a:gd name="T94" fmla="*/ 411 w 250"/>
                <a:gd name="T95" fmla="*/ 450 h 328"/>
                <a:gd name="T96" fmla="*/ 155 w 250"/>
                <a:gd name="T97" fmla="*/ 435 h 328"/>
                <a:gd name="T98" fmla="*/ 155 w 250"/>
                <a:gd name="T99" fmla="*/ 350 h 328"/>
                <a:gd name="T100" fmla="*/ 0 w 250"/>
                <a:gd name="T101" fmla="*/ 277 h 32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50"/>
                <a:gd name="T154" fmla="*/ 0 h 328"/>
                <a:gd name="T155" fmla="*/ 250 w 250"/>
                <a:gd name="T156" fmla="*/ 328 h 32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50" h="328">
                  <a:moveTo>
                    <a:pt x="174" y="328"/>
                  </a:moveTo>
                  <a:lnTo>
                    <a:pt x="176" y="324"/>
                  </a:lnTo>
                  <a:lnTo>
                    <a:pt x="174" y="322"/>
                  </a:lnTo>
                  <a:lnTo>
                    <a:pt x="162" y="316"/>
                  </a:lnTo>
                  <a:lnTo>
                    <a:pt x="150" y="316"/>
                  </a:lnTo>
                  <a:lnTo>
                    <a:pt x="140" y="314"/>
                  </a:lnTo>
                  <a:lnTo>
                    <a:pt x="132" y="314"/>
                  </a:lnTo>
                  <a:lnTo>
                    <a:pt x="130" y="314"/>
                  </a:lnTo>
                  <a:lnTo>
                    <a:pt x="128" y="312"/>
                  </a:lnTo>
                  <a:lnTo>
                    <a:pt x="130" y="300"/>
                  </a:lnTo>
                  <a:lnTo>
                    <a:pt x="136" y="300"/>
                  </a:lnTo>
                  <a:lnTo>
                    <a:pt x="136" y="298"/>
                  </a:lnTo>
                  <a:lnTo>
                    <a:pt x="136" y="294"/>
                  </a:lnTo>
                  <a:lnTo>
                    <a:pt x="138" y="292"/>
                  </a:lnTo>
                  <a:lnTo>
                    <a:pt x="138" y="296"/>
                  </a:lnTo>
                  <a:lnTo>
                    <a:pt x="138" y="300"/>
                  </a:lnTo>
                  <a:lnTo>
                    <a:pt x="144" y="300"/>
                  </a:lnTo>
                  <a:lnTo>
                    <a:pt x="146" y="302"/>
                  </a:lnTo>
                  <a:lnTo>
                    <a:pt x="150" y="300"/>
                  </a:lnTo>
                  <a:lnTo>
                    <a:pt x="150" y="298"/>
                  </a:lnTo>
                  <a:lnTo>
                    <a:pt x="152" y="298"/>
                  </a:lnTo>
                  <a:lnTo>
                    <a:pt x="154" y="300"/>
                  </a:lnTo>
                  <a:lnTo>
                    <a:pt x="154" y="302"/>
                  </a:lnTo>
                  <a:lnTo>
                    <a:pt x="152" y="302"/>
                  </a:lnTo>
                  <a:lnTo>
                    <a:pt x="152" y="304"/>
                  </a:lnTo>
                  <a:lnTo>
                    <a:pt x="156" y="304"/>
                  </a:lnTo>
                  <a:lnTo>
                    <a:pt x="158" y="308"/>
                  </a:lnTo>
                  <a:lnTo>
                    <a:pt x="164" y="308"/>
                  </a:lnTo>
                  <a:lnTo>
                    <a:pt x="178" y="306"/>
                  </a:lnTo>
                  <a:lnTo>
                    <a:pt x="186" y="306"/>
                  </a:lnTo>
                  <a:lnTo>
                    <a:pt x="188" y="308"/>
                  </a:lnTo>
                  <a:lnTo>
                    <a:pt x="190" y="310"/>
                  </a:lnTo>
                  <a:lnTo>
                    <a:pt x="202" y="312"/>
                  </a:lnTo>
                  <a:lnTo>
                    <a:pt x="206" y="312"/>
                  </a:lnTo>
                  <a:lnTo>
                    <a:pt x="212" y="310"/>
                  </a:lnTo>
                  <a:lnTo>
                    <a:pt x="214" y="310"/>
                  </a:lnTo>
                  <a:lnTo>
                    <a:pt x="212" y="318"/>
                  </a:lnTo>
                  <a:lnTo>
                    <a:pt x="216" y="320"/>
                  </a:lnTo>
                  <a:lnTo>
                    <a:pt x="218" y="320"/>
                  </a:lnTo>
                  <a:lnTo>
                    <a:pt x="224" y="316"/>
                  </a:lnTo>
                  <a:lnTo>
                    <a:pt x="228" y="314"/>
                  </a:lnTo>
                  <a:lnTo>
                    <a:pt x="230" y="316"/>
                  </a:lnTo>
                  <a:lnTo>
                    <a:pt x="232" y="314"/>
                  </a:lnTo>
                  <a:lnTo>
                    <a:pt x="236" y="312"/>
                  </a:lnTo>
                  <a:lnTo>
                    <a:pt x="234" y="316"/>
                  </a:lnTo>
                  <a:lnTo>
                    <a:pt x="234" y="320"/>
                  </a:lnTo>
                  <a:lnTo>
                    <a:pt x="232" y="324"/>
                  </a:lnTo>
                  <a:lnTo>
                    <a:pt x="222" y="324"/>
                  </a:lnTo>
                  <a:lnTo>
                    <a:pt x="216" y="326"/>
                  </a:lnTo>
                  <a:lnTo>
                    <a:pt x="210" y="326"/>
                  </a:lnTo>
                  <a:lnTo>
                    <a:pt x="174" y="328"/>
                  </a:lnTo>
                  <a:close/>
                  <a:moveTo>
                    <a:pt x="0" y="106"/>
                  </a:moveTo>
                  <a:lnTo>
                    <a:pt x="10" y="86"/>
                  </a:lnTo>
                  <a:lnTo>
                    <a:pt x="18" y="76"/>
                  </a:lnTo>
                  <a:lnTo>
                    <a:pt x="26" y="68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48" y="46"/>
                  </a:lnTo>
                  <a:lnTo>
                    <a:pt x="58" y="42"/>
                  </a:lnTo>
                  <a:lnTo>
                    <a:pt x="66" y="32"/>
                  </a:lnTo>
                  <a:lnTo>
                    <a:pt x="72" y="28"/>
                  </a:lnTo>
                  <a:lnTo>
                    <a:pt x="78" y="30"/>
                  </a:lnTo>
                  <a:lnTo>
                    <a:pt x="90" y="30"/>
                  </a:lnTo>
                  <a:lnTo>
                    <a:pt x="98" y="26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40" y="16"/>
                  </a:lnTo>
                  <a:lnTo>
                    <a:pt x="154" y="10"/>
                  </a:lnTo>
                  <a:lnTo>
                    <a:pt x="164" y="10"/>
                  </a:lnTo>
                  <a:lnTo>
                    <a:pt x="190" y="20"/>
                  </a:lnTo>
                  <a:lnTo>
                    <a:pt x="200" y="26"/>
                  </a:lnTo>
                  <a:lnTo>
                    <a:pt x="208" y="26"/>
                  </a:lnTo>
                  <a:lnTo>
                    <a:pt x="226" y="18"/>
                  </a:lnTo>
                  <a:lnTo>
                    <a:pt x="228" y="12"/>
                  </a:lnTo>
                  <a:lnTo>
                    <a:pt x="226" y="4"/>
                  </a:lnTo>
                  <a:lnTo>
                    <a:pt x="232" y="0"/>
                  </a:lnTo>
                  <a:lnTo>
                    <a:pt x="238" y="0"/>
                  </a:lnTo>
                  <a:lnTo>
                    <a:pt x="240" y="0"/>
                  </a:lnTo>
                  <a:lnTo>
                    <a:pt x="248" y="6"/>
                  </a:lnTo>
                  <a:lnTo>
                    <a:pt x="250" y="10"/>
                  </a:lnTo>
                  <a:lnTo>
                    <a:pt x="238" y="26"/>
                  </a:lnTo>
                  <a:lnTo>
                    <a:pt x="232" y="38"/>
                  </a:lnTo>
                  <a:lnTo>
                    <a:pt x="226" y="50"/>
                  </a:lnTo>
                  <a:lnTo>
                    <a:pt x="224" y="40"/>
                  </a:lnTo>
                  <a:lnTo>
                    <a:pt x="212" y="40"/>
                  </a:lnTo>
                  <a:lnTo>
                    <a:pt x="198" y="38"/>
                  </a:lnTo>
                  <a:lnTo>
                    <a:pt x="188" y="36"/>
                  </a:lnTo>
                  <a:lnTo>
                    <a:pt x="188" y="32"/>
                  </a:lnTo>
                  <a:lnTo>
                    <a:pt x="180" y="36"/>
                  </a:lnTo>
                  <a:lnTo>
                    <a:pt x="176" y="40"/>
                  </a:lnTo>
                  <a:lnTo>
                    <a:pt x="168" y="40"/>
                  </a:lnTo>
                  <a:lnTo>
                    <a:pt x="168" y="34"/>
                  </a:lnTo>
                  <a:lnTo>
                    <a:pt x="162" y="34"/>
                  </a:lnTo>
                  <a:lnTo>
                    <a:pt x="156" y="42"/>
                  </a:lnTo>
                  <a:lnTo>
                    <a:pt x="150" y="46"/>
                  </a:lnTo>
                  <a:lnTo>
                    <a:pt x="144" y="48"/>
                  </a:lnTo>
                  <a:lnTo>
                    <a:pt x="138" y="44"/>
                  </a:lnTo>
                  <a:lnTo>
                    <a:pt x="134" y="44"/>
                  </a:lnTo>
                  <a:lnTo>
                    <a:pt x="134" y="48"/>
                  </a:lnTo>
                  <a:lnTo>
                    <a:pt x="138" y="52"/>
                  </a:lnTo>
                  <a:lnTo>
                    <a:pt x="140" y="60"/>
                  </a:lnTo>
                  <a:lnTo>
                    <a:pt x="146" y="62"/>
                  </a:lnTo>
                  <a:lnTo>
                    <a:pt x="160" y="74"/>
                  </a:lnTo>
                  <a:lnTo>
                    <a:pt x="156" y="76"/>
                  </a:lnTo>
                  <a:lnTo>
                    <a:pt x="150" y="70"/>
                  </a:lnTo>
                  <a:lnTo>
                    <a:pt x="150" y="68"/>
                  </a:lnTo>
                  <a:lnTo>
                    <a:pt x="146" y="66"/>
                  </a:lnTo>
                  <a:lnTo>
                    <a:pt x="140" y="64"/>
                  </a:lnTo>
                  <a:lnTo>
                    <a:pt x="138" y="66"/>
                  </a:lnTo>
                  <a:lnTo>
                    <a:pt x="134" y="66"/>
                  </a:lnTo>
                  <a:lnTo>
                    <a:pt x="136" y="70"/>
                  </a:lnTo>
                  <a:lnTo>
                    <a:pt x="136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6" y="82"/>
                  </a:lnTo>
                  <a:lnTo>
                    <a:pt x="144" y="84"/>
                  </a:lnTo>
                  <a:lnTo>
                    <a:pt x="140" y="84"/>
                  </a:lnTo>
                  <a:lnTo>
                    <a:pt x="132" y="74"/>
                  </a:lnTo>
                  <a:lnTo>
                    <a:pt x="126" y="72"/>
                  </a:lnTo>
                  <a:lnTo>
                    <a:pt x="124" y="70"/>
                  </a:lnTo>
                  <a:lnTo>
                    <a:pt x="122" y="70"/>
                  </a:lnTo>
                  <a:lnTo>
                    <a:pt x="122" y="72"/>
                  </a:lnTo>
                  <a:lnTo>
                    <a:pt x="120" y="72"/>
                  </a:lnTo>
                  <a:lnTo>
                    <a:pt x="122" y="76"/>
                  </a:lnTo>
                  <a:lnTo>
                    <a:pt x="124" y="78"/>
                  </a:lnTo>
                  <a:lnTo>
                    <a:pt x="126" y="82"/>
                  </a:lnTo>
                  <a:lnTo>
                    <a:pt x="130" y="84"/>
                  </a:lnTo>
                  <a:lnTo>
                    <a:pt x="132" y="84"/>
                  </a:lnTo>
                  <a:lnTo>
                    <a:pt x="134" y="86"/>
                  </a:lnTo>
                  <a:lnTo>
                    <a:pt x="134" y="88"/>
                  </a:lnTo>
                  <a:lnTo>
                    <a:pt x="124" y="86"/>
                  </a:lnTo>
                  <a:lnTo>
                    <a:pt x="120" y="86"/>
                  </a:lnTo>
                  <a:lnTo>
                    <a:pt x="120" y="82"/>
                  </a:lnTo>
                  <a:lnTo>
                    <a:pt x="118" y="74"/>
                  </a:lnTo>
                  <a:lnTo>
                    <a:pt x="116" y="70"/>
                  </a:lnTo>
                  <a:lnTo>
                    <a:pt x="108" y="68"/>
                  </a:lnTo>
                  <a:lnTo>
                    <a:pt x="100" y="60"/>
                  </a:lnTo>
                  <a:lnTo>
                    <a:pt x="104" y="56"/>
                  </a:lnTo>
                  <a:lnTo>
                    <a:pt x="106" y="54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98" y="54"/>
                  </a:lnTo>
                  <a:lnTo>
                    <a:pt x="90" y="58"/>
                  </a:lnTo>
                  <a:lnTo>
                    <a:pt x="94" y="64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98" y="92"/>
                  </a:lnTo>
                  <a:lnTo>
                    <a:pt x="100" y="94"/>
                  </a:lnTo>
                  <a:lnTo>
                    <a:pt x="102" y="104"/>
                  </a:lnTo>
                  <a:lnTo>
                    <a:pt x="114" y="114"/>
                  </a:lnTo>
                  <a:lnTo>
                    <a:pt x="120" y="124"/>
                  </a:lnTo>
                  <a:lnTo>
                    <a:pt x="116" y="126"/>
                  </a:lnTo>
                  <a:lnTo>
                    <a:pt x="112" y="128"/>
                  </a:lnTo>
                  <a:lnTo>
                    <a:pt x="114" y="124"/>
                  </a:lnTo>
                  <a:lnTo>
                    <a:pt x="112" y="120"/>
                  </a:lnTo>
                  <a:lnTo>
                    <a:pt x="110" y="118"/>
                  </a:lnTo>
                  <a:lnTo>
                    <a:pt x="106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2" y="124"/>
                  </a:lnTo>
                  <a:lnTo>
                    <a:pt x="104" y="126"/>
                  </a:lnTo>
                  <a:lnTo>
                    <a:pt x="106" y="132"/>
                  </a:lnTo>
                  <a:lnTo>
                    <a:pt x="102" y="136"/>
                  </a:lnTo>
                  <a:lnTo>
                    <a:pt x="90" y="140"/>
                  </a:lnTo>
                  <a:lnTo>
                    <a:pt x="94" y="140"/>
                  </a:lnTo>
                  <a:lnTo>
                    <a:pt x="100" y="144"/>
                  </a:lnTo>
                  <a:lnTo>
                    <a:pt x="106" y="146"/>
                  </a:lnTo>
                  <a:lnTo>
                    <a:pt x="110" y="150"/>
                  </a:lnTo>
                  <a:lnTo>
                    <a:pt x="114" y="150"/>
                  </a:lnTo>
                  <a:lnTo>
                    <a:pt x="116" y="150"/>
                  </a:lnTo>
                  <a:lnTo>
                    <a:pt x="118" y="152"/>
                  </a:lnTo>
                  <a:lnTo>
                    <a:pt x="124" y="160"/>
                  </a:lnTo>
                  <a:lnTo>
                    <a:pt x="128" y="160"/>
                  </a:lnTo>
                  <a:lnTo>
                    <a:pt x="132" y="166"/>
                  </a:lnTo>
                  <a:lnTo>
                    <a:pt x="136" y="166"/>
                  </a:lnTo>
                  <a:lnTo>
                    <a:pt x="140" y="166"/>
                  </a:lnTo>
                  <a:lnTo>
                    <a:pt x="148" y="172"/>
                  </a:lnTo>
                  <a:lnTo>
                    <a:pt x="148" y="176"/>
                  </a:lnTo>
                  <a:lnTo>
                    <a:pt x="144" y="178"/>
                  </a:lnTo>
                  <a:lnTo>
                    <a:pt x="148" y="194"/>
                  </a:lnTo>
                  <a:lnTo>
                    <a:pt x="146" y="198"/>
                  </a:lnTo>
                  <a:lnTo>
                    <a:pt x="142" y="198"/>
                  </a:lnTo>
                  <a:lnTo>
                    <a:pt x="138" y="190"/>
                  </a:lnTo>
                  <a:lnTo>
                    <a:pt x="134" y="188"/>
                  </a:lnTo>
                  <a:lnTo>
                    <a:pt x="130" y="182"/>
                  </a:lnTo>
                  <a:lnTo>
                    <a:pt x="128" y="180"/>
                  </a:lnTo>
                  <a:lnTo>
                    <a:pt x="126" y="180"/>
                  </a:lnTo>
                  <a:lnTo>
                    <a:pt x="118" y="182"/>
                  </a:lnTo>
                  <a:lnTo>
                    <a:pt x="110" y="184"/>
                  </a:lnTo>
                  <a:lnTo>
                    <a:pt x="106" y="188"/>
                  </a:lnTo>
                  <a:lnTo>
                    <a:pt x="112" y="190"/>
                  </a:lnTo>
                  <a:lnTo>
                    <a:pt x="112" y="194"/>
                  </a:lnTo>
                  <a:lnTo>
                    <a:pt x="112" y="200"/>
                  </a:lnTo>
                  <a:lnTo>
                    <a:pt x="116" y="202"/>
                  </a:lnTo>
                  <a:lnTo>
                    <a:pt x="118" y="202"/>
                  </a:lnTo>
                  <a:lnTo>
                    <a:pt x="122" y="200"/>
                  </a:lnTo>
                  <a:lnTo>
                    <a:pt x="122" y="204"/>
                  </a:lnTo>
                  <a:lnTo>
                    <a:pt x="126" y="208"/>
                  </a:lnTo>
                  <a:lnTo>
                    <a:pt x="118" y="210"/>
                  </a:lnTo>
                  <a:lnTo>
                    <a:pt x="118" y="214"/>
                  </a:lnTo>
                  <a:lnTo>
                    <a:pt x="114" y="214"/>
                  </a:lnTo>
                  <a:lnTo>
                    <a:pt x="110" y="212"/>
                  </a:lnTo>
                  <a:lnTo>
                    <a:pt x="112" y="208"/>
                  </a:lnTo>
                  <a:lnTo>
                    <a:pt x="108" y="206"/>
                  </a:lnTo>
                  <a:lnTo>
                    <a:pt x="100" y="206"/>
                  </a:lnTo>
                  <a:lnTo>
                    <a:pt x="96" y="202"/>
                  </a:lnTo>
                  <a:lnTo>
                    <a:pt x="96" y="208"/>
                  </a:lnTo>
                  <a:lnTo>
                    <a:pt x="100" y="218"/>
                  </a:lnTo>
                  <a:lnTo>
                    <a:pt x="102" y="220"/>
                  </a:lnTo>
                  <a:lnTo>
                    <a:pt x="102" y="224"/>
                  </a:lnTo>
                  <a:lnTo>
                    <a:pt x="106" y="228"/>
                  </a:lnTo>
                  <a:lnTo>
                    <a:pt x="110" y="250"/>
                  </a:lnTo>
                  <a:lnTo>
                    <a:pt x="98" y="244"/>
                  </a:lnTo>
                  <a:lnTo>
                    <a:pt x="92" y="244"/>
                  </a:lnTo>
                  <a:lnTo>
                    <a:pt x="86" y="254"/>
                  </a:lnTo>
                  <a:lnTo>
                    <a:pt x="78" y="238"/>
                  </a:lnTo>
                  <a:lnTo>
                    <a:pt x="72" y="230"/>
                  </a:lnTo>
                  <a:lnTo>
                    <a:pt x="64" y="240"/>
                  </a:lnTo>
                  <a:lnTo>
                    <a:pt x="56" y="232"/>
                  </a:lnTo>
                  <a:lnTo>
                    <a:pt x="54" y="226"/>
                  </a:lnTo>
                  <a:lnTo>
                    <a:pt x="58" y="216"/>
                  </a:lnTo>
                  <a:lnTo>
                    <a:pt x="56" y="212"/>
                  </a:lnTo>
                  <a:lnTo>
                    <a:pt x="54" y="206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88"/>
                  </a:lnTo>
                  <a:lnTo>
                    <a:pt x="50" y="174"/>
                  </a:lnTo>
                  <a:lnTo>
                    <a:pt x="60" y="176"/>
                  </a:lnTo>
                  <a:lnTo>
                    <a:pt x="68" y="170"/>
                  </a:lnTo>
                  <a:lnTo>
                    <a:pt x="72" y="170"/>
                  </a:lnTo>
                  <a:lnTo>
                    <a:pt x="100" y="184"/>
                  </a:lnTo>
                  <a:lnTo>
                    <a:pt x="106" y="184"/>
                  </a:lnTo>
                  <a:lnTo>
                    <a:pt x="114" y="174"/>
                  </a:lnTo>
                  <a:lnTo>
                    <a:pt x="110" y="174"/>
                  </a:lnTo>
                  <a:lnTo>
                    <a:pt x="106" y="172"/>
                  </a:lnTo>
                  <a:lnTo>
                    <a:pt x="84" y="162"/>
                  </a:lnTo>
                  <a:lnTo>
                    <a:pt x="66" y="160"/>
                  </a:lnTo>
                  <a:lnTo>
                    <a:pt x="58" y="162"/>
                  </a:lnTo>
                  <a:lnTo>
                    <a:pt x="48" y="162"/>
                  </a:lnTo>
                  <a:lnTo>
                    <a:pt x="40" y="166"/>
                  </a:lnTo>
                  <a:lnTo>
                    <a:pt x="24" y="142"/>
                  </a:lnTo>
                  <a:lnTo>
                    <a:pt x="30" y="138"/>
                  </a:lnTo>
                  <a:lnTo>
                    <a:pt x="34" y="140"/>
                  </a:lnTo>
                  <a:lnTo>
                    <a:pt x="38" y="138"/>
                  </a:lnTo>
                  <a:lnTo>
                    <a:pt x="40" y="134"/>
                  </a:lnTo>
                  <a:lnTo>
                    <a:pt x="34" y="128"/>
                  </a:lnTo>
                  <a:lnTo>
                    <a:pt x="30" y="130"/>
                  </a:lnTo>
                  <a:lnTo>
                    <a:pt x="20" y="130"/>
                  </a:lnTo>
                  <a:lnTo>
                    <a:pt x="4" y="114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45">
              <a:extLst>
                <a:ext uri="{FF2B5EF4-FFF2-40B4-BE49-F238E27FC236}">
                  <a16:creationId xmlns:a16="http://schemas.microsoft.com/office/drawing/2014/main" id="{91141A97-FB8B-4D16-BD8C-7FD117554F1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8900" y="5730875"/>
              <a:ext cx="144462" cy="82550"/>
            </a:xfrm>
            <a:custGeom>
              <a:avLst/>
              <a:gdLst>
                <a:gd name="T0" fmla="*/ 224 w 88"/>
                <a:gd name="T1" fmla="*/ 60 h 52"/>
                <a:gd name="T2" fmla="*/ 224 w 88"/>
                <a:gd name="T3" fmla="*/ 72 h 52"/>
                <a:gd name="T4" fmla="*/ 245 w 88"/>
                <a:gd name="T5" fmla="*/ 91 h 52"/>
                <a:gd name="T6" fmla="*/ 224 w 88"/>
                <a:gd name="T7" fmla="*/ 91 h 52"/>
                <a:gd name="T8" fmla="*/ 217 w 88"/>
                <a:gd name="T9" fmla="*/ 98 h 52"/>
                <a:gd name="T10" fmla="*/ 208 w 88"/>
                <a:gd name="T11" fmla="*/ 91 h 52"/>
                <a:gd name="T12" fmla="*/ 186 w 88"/>
                <a:gd name="T13" fmla="*/ 91 h 52"/>
                <a:gd name="T14" fmla="*/ 181 w 88"/>
                <a:gd name="T15" fmla="*/ 116 h 52"/>
                <a:gd name="T16" fmla="*/ 136 w 88"/>
                <a:gd name="T17" fmla="*/ 125 h 52"/>
                <a:gd name="T18" fmla="*/ 109 w 88"/>
                <a:gd name="T19" fmla="*/ 134 h 52"/>
                <a:gd name="T20" fmla="*/ 102 w 88"/>
                <a:gd name="T21" fmla="*/ 134 h 52"/>
                <a:gd name="T22" fmla="*/ 102 w 88"/>
                <a:gd name="T23" fmla="*/ 149 h 52"/>
                <a:gd name="T24" fmla="*/ 95 w 88"/>
                <a:gd name="T25" fmla="*/ 149 h 52"/>
                <a:gd name="T26" fmla="*/ 88 w 88"/>
                <a:gd name="T27" fmla="*/ 138 h 52"/>
                <a:gd name="T28" fmla="*/ 58 w 88"/>
                <a:gd name="T29" fmla="*/ 138 h 52"/>
                <a:gd name="T30" fmla="*/ 30 w 88"/>
                <a:gd name="T31" fmla="*/ 125 h 52"/>
                <a:gd name="T32" fmla="*/ 14 w 88"/>
                <a:gd name="T33" fmla="*/ 125 h 52"/>
                <a:gd name="T34" fmla="*/ 14 w 88"/>
                <a:gd name="T35" fmla="*/ 109 h 52"/>
                <a:gd name="T36" fmla="*/ 2 w 88"/>
                <a:gd name="T37" fmla="*/ 104 h 52"/>
                <a:gd name="T38" fmla="*/ 0 w 88"/>
                <a:gd name="T39" fmla="*/ 80 h 52"/>
                <a:gd name="T40" fmla="*/ 0 w 88"/>
                <a:gd name="T41" fmla="*/ 80 h 52"/>
                <a:gd name="T42" fmla="*/ 2 w 88"/>
                <a:gd name="T43" fmla="*/ 87 h 52"/>
                <a:gd name="T44" fmla="*/ 14 w 88"/>
                <a:gd name="T45" fmla="*/ 87 h 52"/>
                <a:gd name="T46" fmla="*/ 46 w 88"/>
                <a:gd name="T47" fmla="*/ 62 h 52"/>
                <a:gd name="T48" fmla="*/ 58 w 88"/>
                <a:gd name="T49" fmla="*/ 62 h 52"/>
                <a:gd name="T50" fmla="*/ 78 w 88"/>
                <a:gd name="T51" fmla="*/ 72 h 52"/>
                <a:gd name="T52" fmla="*/ 88 w 88"/>
                <a:gd name="T53" fmla="*/ 62 h 52"/>
                <a:gd name="T54" fmla="*/ 95 w 88"/>
                <a:gd name="T55" fmla="*/ 45 h 52"/>
                <a:gd name="T56" fmla="*/ 88 w 88"/>
                <a:gd name="T57" fmla="*/ 42 h 52"/>
                <a:gd name="T58" fmla="*/ 121 w 88"/>
                <a:gd name="T59" fmla="*/ 45 h 52"/>
                <a:gd name="T60" fmla="*/ 167 w 88"/>
                <a:gd name="T61" fmla="*/ 45 h 52"/>
                <a:gd name="T62" fmla="*/ 186 w 88"/>
                <a:gd name="T63" fmla="*/ 42 h 52"/>
                <a:gd name="T64" fmla="*/ 239 w 88"/>
                <a:gd name="T65" fmla="*/ 29 h 52"/>
                <a:gd name="T66" fmla="*/ 284 w 88"/>
                <a:gd name="T67" fmla="*/ 12 h 52"/>
                <a:gd name="T68" fmla="*/ 317 w 88"/>
                <a:gd name="T69" fmla="*/ 0 h 52"/>
                <a:gd name="T70" fmla="*/ 289 w 88"/>
                <a:gd name="T71" fmla="*/ 17 h 52"/>
                <a:gd name="T72" fmla="*/ 258 w 88"/>
                <a:gd name="T73" fmla="*/ 29 h 52"/>
                <a:gd name="T74" fmla="*/ 224 w 88"/>
                <a:gd name="T75" fmla="*/ 60 h 52"/>
                <a:gd name="T76" fmla="*/ 224 w 88"/>
                <a:gd name="T77" fmla="*/ 60 h 5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8"/>
                <a:gd name="T118" fmla="*/ 0 h 52"/>
                <a:gd name="T119" fmla="*/ 88 w 88"/>
                <a:gd name="T120" fmla="*/ 52 h 5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8" h="52">
                  <a:moveTo>
                    <a:pt x="62" y="20"/>
                  </a:moveTo>
                  <a:lnTo>
                    <a:pt x="62" y="24"/>
                  </a:lnTo>
                  <a:lnTo>
                    <a:pt x="68" y="32"/>
                  </a:lnTo>
                  <a:lnTo>
                    <a:pt x="62" y="32"/>
                  </a:lnTo>
                  <a:lnTo>
                    <a:pt x="60" y="34"/>
                  </a:lnTo>
                  <a:lnTo>
                    <a:pt x="58" y="32"/>
                  </a:lnTo>
                  <a:lnTo>
                    <a:pt x="52" y="32"/>
                  </a:lnTo>
                  <a:lnTo>
                    <a:pt x="50" y="40"/>
                  </a:lnTo>
                  <a:lnTo>
                    <a:pt x="38" y="44"/>
                  </a:lnTo>
                  <a:lnTo>
                    <a:pt x="30" y="46"/>
                  </a:lnTo>
                  <a:lnTo>
                    <a:pt x="28" y="46"/>
                  </a:lnTo>
                  <a:lnTo>
                    <a:pt x="28" y="52"/>
                  </a:lnTo>
                  <a:lnTo>
                    <a:pt x="26" y="52"/>
                  </a:lnTo>
                  <a:lnTo>
                    <a:pt x="24" y="48"/>
                  </a:lnTo>
                  <a:lnTo>
                    <a:pt x="16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38"/>
                  </a:lnTo>
                  <a:lnTo>
                    <a:pt x="2" y="36"/>
                  </a:lnTo>
                  <a:lnTo>
                    <a:pt x="0" y="28"/>
                  </a:lnTo>
                  <a:lnTo>
                    <a:pt x="2" y="30"/>
                  </a:lnTo>
                  <a:lnTo>
                    <a:pt x="4" y="30"/>
                  </a:lnTo>
                  <a:lnTo>
                    <a:pt x="12" y="22"/>
                  </a:lnTo>
                  <a:lnTo>
                    <a:pt x="16" y="22"/>
                  </a:lnTo>
                  <a:lnTo>
                    <a:pt x="22" y="24"/>
                  </a:lnTo>
                  <a:lnTo>
                    <a:pt x="24" y="22"/>
                  </a:lnTo>
                  <a:lnTo>
                    <a:pt x="26" y="16"/>
                  </a:lnTo>
                  <a:lnTo>
                    <a:pt x="24" y="14"/>
                  </a:lnTo>
                  <a:lnTo>
                    <a:pt x="34" y="16"/>
                  </a:lnTo>
                  <a:lnTo>
                    <a:pt x="46" y="16"/>
                  </a:lnTo>
                  <a:lnTo>
                    <a:pt x="52" y="14"/>
                  </a:lnTo>
                  <a:lnTo>
                    <a:pt x="66" y="10"/>
                  </a:lnTo>
                  <a:lnTo>
                    <a:pt x="78" y="4"/>
                  </a:lnTo>
                  <a:lnTo>
                    <a:pt x="88" y="0"/>
                  </a:lnTo>
                  <a:lnTo>
                    <a:pt x="80" y="6"/>
                  </a:lnTo>
                  <a:lnTo>
                    <a:pt x="72" y="10"/>
                  </a:lnTo>
                  <a:lnTo>
                    <a:pt x="62" y="2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47">
              <a:extLst>
                <a:ext uri="{FF2B5EF4-FFF2-40B4-BE49-F238E27FC236}">
                  <a16:creationId xmlns:a16="http://schemas.microsoft.com/office/drawing/2014/main" id="{676AFE24-9C6B-44D3-940A-0AE1FD3391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765675" y="4073525"/>
              <a:ext cx="582612" cy="725487"/>
            </a:xfrm>
            <a:custGeom>
              <a:avLst/>
              <a:gdLst>
                <a:gd name="T0" fmla="*/ 245 w 350"/>
                <a:gd name="T1" fmla="*/ 1071 h 468"/>
                <a:gd name="T2" fmla="*/ 302 w 350"/>
                <a:gd name="T3" fmla="*/ 945 h 468"/>
                <a:gd name="T4" fmla="*/ 214 w 350"/>
                <a:gd name="T5" fmla="*/ 929 h 468"/>
                <a:gd name="T6" fmla="*/ 78 w 350"/>
                <a:gd name="T7" fmla="*/ 889 h 468"/>
                <a:gd name="T8" fmla="*/ 31 w 350"/>
                <a:gd name="T9" fmla="*/ 802 h 468"/>
                <a:gd name="T10" fmla="*/ 16 w 350"/>
                <a:gd name="T11" fmla="*/ 684 h 468"/>
                <a:gd name="T12" fmla="*/ 25 w 350"/>
                <a:gd name="T13" fmla="*/ 635 h 468"/>
                <a:gd name="T14" fmla="*/ 39 w 350"/>
                <a:gd name="T15" fmla="*/ 562 h 468"/>
                <a:gd name="T16" fmla="*/ 48 w 350"/>
                <a:gd name="T17" fmla="*/ 506 h 468"/>
                <a:gd name="T18" fmla="*/ 172 w 350"/>
                <a:gd name="T19" fmla="*/ 452 h 468"/>
                <a:gd name="T20" fmla="*/ 124 w 350"/>
                <a:gd name="T21" fmla="*/ 396 h 468"/>
                <a:gd name="T22" fmla="*/ 186 w 350"/>
                <a:gd name="T23" fmla="*/ 299 h 468"/>
                <a:gd name="T24" fmla="*/ 214 w 350"/>
                <a:gd name="T25" fmla="*/ 227 h 468"/>
                <a:gd name="T26" fmla="*/ 322 w 350"/>
                <a:gd name="T27" fmla="*/ 262 h 468"/>
                <a:gd name="T28" fmla="*/ 365 w 350"/>
                <a:gd name="T29" fmla="*/ 238 h 468"/>
                <a:gd name="T30" fmla="*/ 488 w 350"/>
                <a:gd name="T31" fmla="*/ 196 h 468"/>
                <a:gd name="T32" fmla="*/ 431 w 350"/>
                <a:gd name="T33" fmla="*/ 133 h 468"/>
                <a:gd name="T34" fmla="*/ 449 w 350"/>
                <a:gd name="T35" fmla="*/ 103 h 468"/>
                <a:gd name="T36" fmla="*/ 417 w 350"/>
                <a:gd name="T37" fmla="*/ 11 h 468"/>
                <a:gd name="T38" fmla="*/ 613 w 350"/>
                <a:gd name="T39" fmla="*/ 74 h 468"/>
                <a:gd name="T40" fmla="*/ 671 w 350"/>
                <a:gd name="T41" fmla="*/ 97 h 468"/>
                <a:gd name="T42" fmla="*/ 781 w 350"/>
                <a:gd name="T43" fmla="*/ 133 h 468"/>
                <a:gd name="T44" fmla="*/ 805 w 350"/>
                <a:gd name="T45" fmla="*/ 179 h 468"/>
                <a:gd name="T46" fmla="*/ 1027 w 350"/>
                <a:gd name="T47" fmla="*/ 103 h 468"/>
                <a:gd name="T48" fmla="*/ 1130 w 350"/>
                <a:gd name="T49" fmla="*/ 151 h 468"/>
                <a:gd name="T50" fmla="*/ 1194 w 350"/>
                <a:gd name="T51" fmla="*/ 196 h 468"/>
                <a:gd name="T52" fmla="*/ 1272 w 350"/>
                <a:gd name="T53" fmla="*/ 222 h 468"/>
                <a:gd name="T54" fmla="*/ 1272 w 350"/>
                <a:gd name="T55" fmla="*/ 364 h 468"/>
                <a:gd name="T56" fmla="*/ 1328 w 350"/>
                <a:gd name="T57" fmla="*/ 473 h 468"/>
                <a:gd name="T58" fmla="*/ 1334 w 350"/>
                <a:gd name="T59" fmla="*/ 542 h 468"/>
                <a:gd name="T60" fmla="*/ 1341 w 350"/>
                <a:gd name="T61" fmla="*/ 666 h 468"/>
                <a:gd name="T62" fmla="*/ 1285 w 350"/>
                <a:gd name="T63" fmla="*/ 655 h 468"/>
                <a:gd name="T64" fmla="*/ 1152 w 350"/>
                <a:gd name="T65" fmla="*/ 684 h 468"/>
                <a:gd name="T66" fmla="*/ 1075 w 350"/>
                <a:gd name="T67" fmla="*/ 717 h 468"/>
                <a:gd name="T68" fmla="*/ 979 w 350"/>
                <a:gd name="T69" fmla="*/ 752 h 468"/>
                <a:gd name="T70" fmla="*/ 997 w 350"/>
                <a:gd name="T71" fmla="*/ 820 h 468"/>
                <a:gd name="T72" fmla="*/ 1050 w 350"/>
                <a:gd name="T73" fmla="*/ 898 h 468"/>
                <a:gd name="T74" fmla="*/ 1162 w 350"/>
                <a:gd name="T75" fmla="*/ 948 h 468"/>
                <a:gd name="T76" fmla="*/ 1145 w 350"/>
                <a:gd name="T77" fmla="*/ 1011 h 468"/>
                <a:gd name="T78" fmla="*/ 1027 w 350"/>
                <a:gd name="T79" fmla="*/ 1082 h 468"/>
                <a:gd name="T80" fmla="*/ 1075 w 350"/>
                <a:gd name="T81" fmla="*/ 1174 h 468"/>
                <a:gd name="T82" fmla="*/ 988 w 350"/>
                <a:gd name="T83" fmla="*/ 1156 h 468"/>
                <a:gd name="T84" fmla="*/ 844 w 350"/>
                <a:gd name="T85" fmla="*/ 1171 h 468"/>
                <a:gd name="T86" fmla="*/ 749 w 350"/>
                <a:gd name="T87" fmla="*/ 1180 h 468"/>
                <a:gd name="T88" fmla="*/ 680 w 350"/>
                <a:gd name="T89" fmla="*/ 1186 h 468"/>
                <a:gd name="T90" fmla="*/ 625 w 350"/>
                <a:gd name="T91" fmla="*/ 1180 h 468"/>
                <a:gd name="T92" fmla="*/ 571 w 350"/>
                <a:gd name="T93" fmla="*/ 1171 h 468"/>
                <a:gd name="T94" fmla="*/ 417 w 350"/>
                <a:gd name="T95" fmla="*/ 1145 h 468"/>
                <a:gd name="T96" fmla="*/ 339 w 350"/>
                <a:gd name="T97" fmla="*/ 1156 h 468"/>
                <a:gd name="T98" fmla="*/ 245 w 350"/>
                <a:gd name="T99" fmla="*/ 1158 h 468"/>
                <a:gd name="T100" fmla="*/ 1194 w 350"/>
                <a:gd name="T101" fmla="*/ 166 h 4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0"/>
                <a:gd name="T154" fmla="*/ 0 h 468"/>
                <a:gd name="T155" fmla="*/ 350 w 350"/>
                <a:gd name="T156" fmla="*/ 468 h 4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0" h="468">
                  <a:moveTo>
                    <a:pt x="62" y="450"/>
                  </a:moveTo>
                  <a:lnTo>
                    <a:pt x="58" y="444"/>
                  </a:lnTo>
                  <a:lnTo>
                    <a:pt x="62" y="426"/>
                  </a:lnTo>
                  <a:lnTo>
                    <a:pt x="62" y="424"/>
                  </a:lnTo>
                  <a:lnTo>
                    <a:pt x="62" y="416"/>
                  </a:lnTo>
                  <a:lnTo>
                    <a:pt x="68" y="408"/>
                  </a:lnTo>
                  <a:lnTo>
                    <a:pt x="68" y="398"/>
                  </a:lnTo>
                  <a:lnTo>
                    <a:pt x="70" y="392"/>
                  </a:lnTo>
                  <a:lnTo>
                    <a:pt x="86" y="372"/>
                  </a:lnTo>
                  <a:lnTo>
                    <a:pt x="76" y="366"/>
                  </a:lnTo>
                  <a:lnTo>
                    <a:pt x="68" y="366"/>
                  </a:lnTo>
                  <a:lnTo>
                    <a:pt x="60" y="364"/>
                  </a:lnTo>
                  <a:lnTo>
                    <a:pt x="58" y="360"/>
                  </a:lnTo>
                  <a:lnTo>
                    <a:pt x="54" y="360"/>
                  </a:lnTo>
                  <a:lnTo>
                    <a:pt x="42" y="362"/>
                  </a:lnTo>
                  <a:lnTo>
                    <a:pt x="40" y="358"/>
                  </a:lnTo>
                  <a:lnTo>
                    <a:pt x="34" y="360"/>
                  </a:lnTo>
                  <a:lnTo>
                    <a:pt x="28" y="352"/>
                  </a:lnTo>
                  <a:lnTo>
                    <a:pt x="20" y="344"/>
                  </a:lnTo>
                  <a:lnTo>
                    <a:pt x="18" y="334"/>
                  </a:lnTo>
                  <a:lnTo>
                    <a:pt x="24" y="330"/>
                  </a:lnTo>
                  <a:lnTo>
                    <a:pt x="24" y="322"/>
                  </a:lnTo>
                  <a:lnTo>
                    <a:pt x="16" y="320"/>
                  </a:lnTo>
                  <a:lnTo>
                    <a:pt x="8" y="312"/>
                  </a:lnTo>
                  <a:lnTo>
                    <a:pt x="8" y="304"/>
                  </a:lnTo>
                  <a:lnTo>
                    <a:pt x="16" y="294"/>
                  </a:lnTo>
                  <a:lnTo>
                    <a:pt x="14" y="282"/>
                  </a:lnTo>
                  <a:lnTo>
                    <a:pt x="10" y="270"/>
                  </a:lnTo>
                  <a:lnTo>
                    <a:pt x="4" y="266"/>
                  </a:lnTo>
                  <a:lnTo>
                    <a:pt x="6" y="258"/>
                  </a:lnTo>
                  <a:lnTo>
                    <a:pt x="4" y="252"/>
                  </a:lnTo>
                  <a:lnTo>
                    <a:pt x="0" y="252"/>
                  </a:lnTo>
                  <a:lnTo>
                    <a:pt x="2" y="248"/>
                  </a:lnTo>
                  <a:lnTo>
                    <a:pt x="6" y="246"/>
                  </a:lnTo>
                  <a:lnTo>
                    <a:pt x="10" y="242"/>
                  </a:lnTo>
                  <a:lnTo>
                    <a:pt x="6" y="238"/>
                  </a:lnTo>
                  <a:lnTo>
                    <a:pt x="10" y="230"/>
                  </a:lnTo>
                  <a:lnTo>
                    <a:pt x="12" y="226"/>
                  </a:lnTo>
                  <a:lnTo>
                    <a:pt x="10" y="218"/>
                  </a:lnTo>
                  <a:lnTo>
                    <a:pt x="8" y="212"/>
                  </a:lnTo>
                  <a:lnTo>
                    <a:pt x="2" y="206"/>
                  </a:lnTo>
                  <a:lnTo>
                    <a:pt x="2" y="202"/>
                  </a:lnTo>
                  <a:lnTo>
                    <a:pt x="8" y="198"/>
                  </a:lnTo>
                  <a:lnTo>
                    <a:pt x="12" y="196"/>
                  </a:lnTo>
                  <a:lnTo>
                    <a:pt x="18" y="200"/>
                  </a:lnTo>
                  <a:lnTo>
                    <a:pt x="30" y="196"/>
                  </a:lnTo>
                  <a:lnTo>
                    <a:pt x="36" y="192"/>
                  </a:lnTo>
                  <a:lnTo>
                    <a:pt x="38" y="182"/>
                  </a:lnTo>
                  <a:lnTo>
                    <a:pt x="44" y="176"/>
                  </a:lnTo>
                  <a:lnTo>
                    <a:pt x="44" y="166"/>
                  </a:lnTo>
                  <a:lnTo>
                    <a:pt x="42" y="162"/>
                  </a:lnTo>
                  <a:lnTo>
                    <a:pt x="38" y="162"/>
                  </a:lnTo>
                  <a:lnTo>
                    <a:pt x="30" y="160"/>
                  </a:lnTo>
                  <a:lnTo>
                    <a:pt x="32" y="154"/>
                  </a:lnTo>
                  <a:lnTo>
                    <a:pt x="34" y="148"/>
                  </a:lnTo>
                  <a:lnTo>
                    <a:pt x="44" y="150"/>
                  </a:lnTo>
                  <a:lnTo>
                    <a:pt x="44" y="138"/>
                  </a:lnTo>
                  <a:lnTo>
                    <a:pt x="50" y="128"/>
                  </a:lnTo>
                  <a:lnTo>
                    <a:pt x="48" y="116"/>
                  </a:lnTo>
                  <a:lnTo>
                    <a:pt x="50" y="112"/>
                  </a:lnTo>
                  <a:lnTo>
                    <a:pt x="42" y="106"/>
                  </a:lnTo>
                  <a:lnTo>
                    <a:pt x="44" y="94"/>
                  </a:lnTo>
                  <a:lnTo>
                    <a:pt x="48" y="88"/>
                  </a:lnTo>
                  <a:lnTo>
                    <a:pt x="54" y="88"/>
                  </a:lnTo>
                  <a:lnTo>
                    <a:pt x="74" y="86"/>
                  </a:lnTo>
                  <a:lnTo>
                    <a:pt x="78" y="84"/>
                  </a:lnTo>
                  <a:lnTo>
                    <a:pt x="80" y="90"/>
                  </a:lnTo>
                  <a:lnTo>
                    <a:pt x="84" y="98"/>
                  </a:lnTo>
                  <a:lnTo>
                    <a:pt x="82" y="102"/>
                  </a:lnTo>
                  <a:lnTo>
                    <a:pt x="88" y="106"/>
                  </a:lnTo>
                  <a:lnTo>
                    <a:pt x="90" y="104"/>
                  </a:lnTo>
                  <a:lnTo>
                    <a:pt x="90" y="9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100" y="98"/>
                  </a:lnTo>
                  <a:lnTo>
                    <a:pt x="96" y="86"/>
                  </a:lnTo>
                  <a:lnTo>
                    <a:pt x="102" y="74"/>
                  </a:lnTo>
                  <a:lnTo>
                    <a:pt x="114" y="78"/>
                  </a:lnTo>
                  <a:lnTo>
                    <a:pt x="124" y="76"/>
                  </a:lnTo>
                  <a:lnTo>
                    <a:pt x="114" y="70"/>
                  </a:lnTo>
                  <a:lnTo>
                    <a:pt x="112" y="64"/>
                  </a:lnTo>
                  <a:lnTo>
                    <a:pt x="116" y="60"/>
                  </a:lnTo>
                  <a:lnTo>
                    <a:pt x="112" y="56"/>
                  </a:lnTo>
                  <a:lnTo>
                    <a:pt x="110" y="52"/>
                  </a:lnTo>
                  <a:lnTo>
                    <a:pt x="114" y="50"/>
                  </a:lnTo>
                  <a:lnTo>
                    <a:pt x="114" y="46"/>
                  </a:lnTo>
                  <a:lnTo>
                    <a:pt x="102" y="48"/>
                  </a:lnTo>
                  <a:lnTo>
                    <a:pt x="102" y="44"/>
                  </a:lnTo>
                  <a:lnTo>
                    <a:pt x="114" y="40"/>
                  </a:lnTo>
                  <a:lnTo>
                    <a:pt x="116" y="34"/>
                  </a:lnTo>
                  <a:lnTo>
                    <a:pt x="108" y="22"/>
                  </a:lnTo>
                  <a:lnTo>
                    <a:pt x="102" y="12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38" y="0"/>
                  </a:lnTo>
                  <a:lnTo>
                    <a:pt x="142" y="4"/>
                  </a:lnTo>
                  <a:lnTo>
                    <a:pt x="152" y="14"/>
                  </a:lnTo>
                  <a:lnTo>
                    <a:pt x="156" y="22"/>
                  </a:lnTo>
                  <a:lnTo>
                    <a:pt x="156" y="28"/>
                  </a:lnTo>
                  <a:lnTo>
                    <a:pt x="152" y="34"/>
                  </a:lnTo>
                  <a:lnTo>
                    <a:pt x="160" y="32"/>
                  </a:lnTo>
                  <a:lnTo>
                    <a:pt x="162" y="40"/>
                  </a:lnTo>
                  <a:lnTo>
                    <a:pt x="166" y="36"/>
                  </a:lnTo>
                  <a:lnTo>
                    <a:pt x="170" y="38"/>
                  </a:lnTo>
                  <a:lnTo>
                    <a:pt x="174" y="42"/>
                  </a:lnTo>
                  <a:lnTo>
                    <a:pt x="182" y="44"/>
                  </a:lnTo>
                  <a:lnTo>
                    <a:pt x="198" y="40"/>
                  </a:lnTo>
                  <a:lnTo>
                    <a:pt x="198" y="46"/>
                  </a:lnTo>
                  <a:lnTo>
                    <a:pt x="198" y="52"/>
                  </a:lnTo>
                  <a:lnTo>
                    <a:pt x="196" y="54"/>
                  </a:lnTo>
                  <a:lnTo>
                    <a:pt x="184" y="64"/>
                  </a:lnTo>
                  <a:lnTo>
                    <a:pt x="190" y="70"/>
                  </a:lnTo>
                  <a:lnTo>
                    <a:pt x="202" y="66"/>
                  </a:lnTo>
                  <a:lnTo>
                    <a:pt x="204" y="70"/>
                  </a:lnTo>
                  <a:lnTo>
                    <a:pt x="212" y="70"/>
                  </a:lnTo>
                  <a:lnTo>
                    <a:pt x="218" y="58"/>
                  </a:lnTo>
                  <a:lnTo>
                    <a:pt x="236" y="54"/>
                  </a:lnTo>
                  <a:lnTo>
                    <a:pt x="246" y="48"/>
                  </a:lnTo>
                  <a:lnTo>
                    <a:pt x="260" y="40"/>
                  </a:lnTo>
                  <a:lnTo>
                    <a:pt x="264" y="44"/>
                  </a:lnTo>
                  <a:lnTo>
                    <a:pt x="270" y="38"/>
                  </a:lnTo>
                  <a:lnTo>
                    <a:pt x="272" y="44"/>
                  </a:lnTo>
                  <a:lnTo>
                    <a:pt x="274" y="48"/>
                  </a:lnTo>
                  <a:lnTo>
                    <a:pt x="286" y="58"/>
                  </a:lnTo>
                  <a:lnTo>
                    <a:pt x="288" y="60"/>
                  </a:lnTo>
                  <a:lnTo>
                    <a:pt x="298" y="56"/>
                  </a:lnTo>
                  <a:lnTo>
                    <a:pt x="300" y="60"/>
                  </a:lnTo>
                  <a:lnTo>
                    <a:pt x="302" y="70"/>
                  </a:lnTo>
                  <a:lnTo>
                    <a:pt x="302" y="76"/>
                  </a:lnTo>
                  <a:lnTo>
                    <a:pt x="304" y="78"/>
                  </a:lnTo>
                  <a:lnTo>
                    <a:pt x="310" y="82"/>
                  </a:lnTo>
                  <a:lnTo>
                    <a:pt x="318" y="82"/>
                  </a:lnTo>
                  <a:lnTo>
                    <a:pt x="318" y="86"/>
                  </a:lnTo>
                  <a:lnTo>
                    <a:pt x="322" y="86"/>
                  </a:lnTo>
                  <a:lnTo>
                    <a:pt x="326" y="110"/>
                  </a:lnTo>
                  <a:lnTo>
                    <a:pt x="322" y="126"/>
                  </a:lnTo>
                  <a:lnTo>
                    <a:pt x="316" y="130"/>
                  </a:lnTo>
                  <a:lnTo>
                    <a:pt x="316" y="140"/>
                  </a:lnTo>
                  <a:lnTo>
                    <a:pt x="322" y="142"/>
                  </a:lnTo>
                  <a:lnTo>
                    <a:pt x="334" y="154"/>
                  </a:lnTo>
                  <a:lnTo>
                    <a:pt x="330" y="166"/>
                  </a:lnTo>
                  <a:lnTo>
                    <a:pt x="332" y="170"/>
                  </a:lnTo>
                  <a:lnTo>
                    <a:pt x="338" y="174"/>
                  </a:lnTo>
                  <a:lnTo>
                    <a:pt x="336" y="184"/>
                  </a:lnTo>
                  <a:lnTo>
                    <a:pt x="340" y="186"/>
                  </a:lnTo>
                  <a:lnTo>
                    <a:pt x="338" y="194"/>
                  </a:lnTo>
                  <a:lnTo>
                    <a:pt x="334" y="198"/>
                  </a:lnTo>
                  <a:lnTo>
                    <a:pt x="334" y="204"/>
                  </a:lnTo>
                  <a:lnTo>
                    <a:pt x="338" y="210"/>
                  </a:lnTo>
                  <a:lnTo>
                    <a:pt x="336" y="218"/>
                  </a:lnTo>
                  <a:lnTo>
                    <a:pt x="346" y="222"/>
                  </a:lnTo>
                  <a:lnTo>
                    <a:pt x="350" y="236"/>
                  </a:lnTo>
                  <a:lnTo>
                    <a:pt x="342" y="256"/>
                  </a:lnTo>
                  <a:lnTo>
                    <a:pt x="340" y="258"/>
                  </a:lnTo>
                  <a:lnTo>
                    <a:pt x="334" y="258"/>
                  </a:lnTo>
                  <a:lnTo>
                    <a:pt x="334" y="250"/>
                  </a:lnTo>
                  <a:lnTo>
                    <a:pt x="328" y="246"/>
                  </a:lnTo>
                  <a:lnTo>
                    <a:pt x="320" y="248"/>
                  </a:lnTo>
                  <a:lnTo>
                    <a:pt x="326" y="254"/>
                  </a:lnTo>
                  <a:lnTo>
                    <a:pt x="320" y="256"/>
                  </a:lnTo>
                  <a:lnTo>
                    <a:pt x="316" y="258"/>
                  </a:lnTo>
                  <a:lnTo>
                    <a:pt x="308" y="260"/>
                  </a:lnTo>
                  <a:lnTo>
                    <a:pt x="306" y="264"/>
                  </a:lnTo>
                  <a:lnTo>
                    <a:pt x="292" y="266"/>
                  </a:lnTo>
                  <a:lnTo>
                    <a:pt x="290" y="272"/>
                  </a:lnTo>
                  <a:lnTo>
                    <a:pt x="288" y="270"/>
                  </a:lnTo>
                  <a:lnTo>
                    <a:pt x="282" y="270"/>
                  </a:lnTo>
                  <a:lnTo>
                    <a:pt x="280" y="278"/>
                  </a:lnTo>
                  <a:lnTo>
                    <a:pt x="272" y="278"/>
                  </a:lnTo>
                  <a:lnTo>
                    <a:pt x="272" y="282"/>
                  </a:lnTo>
                  <a:lnTo>
                    <a:pt x="264" y="282"/>
                  </a:lnTo>
                  <a:lnTo>
                    <a:pt x="256" y="288"/>
                  </a:lnTo>
                  <a:lnTo>
                    <a:pt x="252" y="288"/>
                  </a:lnTo>
                  <a:lnTo>
                    <a:pt x="248" y="292"/>
                  </a:lnTo>
                  <a:lnTo>
                    <a:pt x="242" y="296"/>
                  </a:lnTo>
                  <a:lnTo>
                    <a:pt x="244" y="298"/>
                  </a:lnTo>
                  <a:lnTo>
                    <a:pt x="248" y="308"/>
                  </a:lnTo>
                  <a:lnTo>
                    <a:pt x="256" y="310"/>
                  </a:lnTo>
                  <a:lnTo>
                    <a:pt x="252" y="318"/>
                  </a:lnTo>
                  <a:lnTo>
                    <a:pt x="250" y="328"/>
                  </a:lnTo>
                  <a:lnTo>
                    <a:pt x="254" y="330"/>
                  </a:lnTo>
                  <a:lnTo>
                    <a:pt x="254" y="338"/>
                  </a:lnTo>
                  <a:lnTo>
                    <a:pt x="258" y="342"/>
                  </a:lnTo>
                  <a:lnTo>
                    <a:pt x="266" y="348"/>
                  </a:lnTo>
                  <a:lnTo>
                    <a:pt x="270" y="346"/>
                  </a:lnTo>
                  <a:lnTo>
                    <a:pt x="280" y="360"/>
                  </a:lnTo>
                  <a:lnTo>
                    <a:pt x="288" y="366"/>
                  </a:lnTo>
                  <a:lnTo>
                    <a:pt x="290" y="370"/>
                  </a:lnTo>
                  <a:lnTo>
                    <a:pt x="294" y="368"/>
                  </a:lnTo>
                  <a:lnTo>
                    <a:pt x="298" y="372"/>
                  </a:lnTo>
                  <a:lnTo>
                    <a:pt x="300" y="374"/>
                  </a:lnTo>
                  <a:lnTo>
                    <a:pt x="308" y="390"/>
                  </a:lnTo>
                  <a:lnTo>
                    <a:pt x="296" y="398"/>
                  </a:lnTo>
                  <a:lnTo>
                    <a:pt x="290" y="392"/>
                  </a:lnTo>
                  <a:lnTo>
                    <a:pt x="286" y="394"/>
                  </a:lnTo>
                  <a:lnTo>
                    <a:pt x="286" y="402"/>
                  </a:lnTo>
                  <a:lnTo>
                    <a:pt x="284" y="406"/>
                  </a:lnTo>
                  <a:lnTo>
                    <a:pt x="266" y="414"/>
                  </a:lnTo>
                  <a:lnTo>
                    <a:pt x="260" y="420"/>
                  </a:lnTo>
                  <a:lnTo>
                    <a:pt x="270" y="436"/>
                  </a:lnTo>
                  <a:lnTo>
                    <a:pt x="266" y="442"/>
                  </a:lnTo>
                  <a:lnTo>
                    <a:pt x="272" y="444"/>
                  </a:lnTo>
                  <a:lnTo>
                    <a:pt x="272" y="448"/>
                  </a:lnTo>
                  <a:lnTo>
                    <a:pt x="272" y="456"/>
                  </a:lnTo>
                  <a:lnTo>
                    <a:pt x="270" y="458"/>
                  </a:lnTo>
                  <a:lnTo>
                    <a:pt x="262" y="452"/>
                  </a:lnTo>
                  <a:lnTo>
                    <a:pt x="264" y="448"/>
                  </a:lnTo>
                  <a:lnTo>
                    <a:pt x="260" y="446"/>
                  </a:lnTo>
                  <a:lnTo>
                    <a:pt x="250" y="448"/>
                  </a:lnTo>
                  <a:lnTo>
                    <a:pt x="248" y="444"/>
                  </a:lnTo>
                  <a:lnTo>
                    <a:pt x="240" y="444"/>
                  </a:lnTo>
                  <a:lnTo>
                    <a:pt x="238" y="450"/>
                  </a:lnTo>
                  <a:lnTo>
                    <a:pt x="216" y="450"/>
                  </a:lnTo>
                  <a:lnTo>
                    <a:pt x="214" y="454"/>
                  </a:lnTo>
                  <a:lnTo>
                    <a:pt x="210" y="454"/>
                  </a:lnTo>
                  <a:lnTo>
                    <a:pt x="208" y="458"/>
                  </a:lnTo>
                  <a:lnTo>
                    <a:pt x="202" y="462"/>
                  </a:lnTo>
                  <a:lnTo>
                    <a:pt x="192" y="462"/>
                  </a:lnTo>
                  <a:lnTo>
                    <a:pt x="190" y="458"/>
                  </a:lnTo>
                  <a:lnTo>
                    <a:pt x="188" y="454"/>
                  </a:lnTo>
                  <a:lnTo>
                    <a:pt x="180" y="452"/>
                  </a:lnTo>
                  <a:lnTo>
                    <a:pt x="176" y="452"/>
                  </a:lnTo>
                  <a:lnTo>
                    <a:pt x="172" y="452"/>
                  </a:lnTo>
                  <a:lnTo>
                    <a:pt x="172" y="460"/>
                  </a:lnTo>
                  <a:lnTo>
                    <a:pt x="164" y="468"/>
                  </a:lnTo>
                  <a:lnTo>
                    <a:pt x="162" y="468"/>
                  </a:lnTo>
                  <a:lnTo>
                    <a:pt x="162" y="462"/>
                  </a:lnTo>
                  <a:lnTo>
                    <a:pt x="158" y="462"/>
                  </a:lnTo>
                  <a:lnTo>
                    <a:pt x="158" y="458"/>
                  </a:lnTo>
                  <a:lnTo>
                    <a:pt x="154" y="456"/>
                  </a:lnTo>
                  <a:lnTo>
                    <a:pt x="152" y="452"/>
                  </a:lnTo>
                  <a:lnTo>
                    <a:pt x="148" y="452"/>
                  </a:lnTo>
                  <a:lnTo>
                    <a:pt x="148" y="450"/>
                  </a:lnTo>
                  <a:lnTo>
                    <a:pt x="144" y="454"/>
                  </a:lnTo>
                  <a:lnTo>
                    <a:pt x="138" y="452"/>
                  </a:lnTo>
                  <a:lnTo>
                    <a:pt x="126" y="446"/>
                  </a:lnTo>
                  <a:lnTo>
                    <a:pt x="112" y="446"/>
                  </a:lnTo>
                  <a:lnTo>
                    <a:pt x="110" y="444"/>
                  </a:lnTo>
                  <a:lnTo>
                    <a:pt x="106" y="444"/>
                  </a:lnTo>
                  <a:lnTo>
                    <a:pt x="106" y="440"/>
                  </a:lnTo>
                  <a:lnTo>
                    <a:pt x="92" y="446"/>
                  </a:lnTo>
                  <a:lnTo>
                    <a:pt x="96" y="450"/>
                  </a:lnTo>
                  <a:lnTo>
                    <a:pt x="90" y="450"/>
                  </a:lnTo>
                  <a:lnTo>
                    <a:pt x="86" y="448"/>
                  </a:lnTo>
                  <a:lnTo>
                    <a:pt x="76" y="452"/>
                  </a:lnTo>
                  <a:lnTo>
                    <a:pt x="70" y="450"/>
                  </a:lnTo>
                  <a:lnTo>
                    <a:pt x="66" y="452"/>
                  </a:lnTo>
                  <a:lnTo>
                    <a:pt x="62" y="450"/>
                  </a:lnTo>
                  <a:close/>
                  <a:moveTo>
                    <a:pt x="316" y="72"/>
                  </a:moveTo>
                  <a:lnTo>
                    <a:pt x="314" y="72"/>
                  </a:lnTo>
                  <a:lnTo>
                    <a:pt x="312" y="70"/>
                  </a:lnTo>
                  <a:lnTo>
                    <a:pt x="304" y="72"/>
                  </a:lnTo>
                  <a:lnTo>
                    <a:pt x="302" y="64"/>
                  </a:lnTo>
                  <a:lnTo>
                    <a:pt x="302" y="58"/>
                  </a:lnTo>
                  <a:lnTo>
                    <a:pt x="314" y="66"/>
                  </a:lnTo>
                  <a:lnTo>
                    <a:pt x="316" y="72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48">
              <a:extLst>
                <a:ext uri="{FF2B5EF4-FFF2-40B4-BE49-F238E27FC236}">
                  <a16:creationId xmlns:a16="http://schemas.microsoft.com/office/drawing/2014/main" id="{3FD244B4-9FC2-4C8D-8EE4-21240F75E9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2063" y="5103813"/>
              <a:ext cx="790575" cy="601662"/>
            </a:xfrm>
            <a:custGeom>
              <a:avLst/>
              <a:gdLst>
                <a:gd name="T0" fmla="*/ 70 w 476"/>
                <a:gd name="T1" fmla="*/ 213 h 386"/>
                <a:gd name="T2" fmla="*/ 48 w 476"/>
                <a:gd name="T3" fmla="*/ 127 h 386"/>
                <a:gd name="T4" fmla="*/ 0 w 476"/>
                <a:gd name="T5" fmla="*/ 94 h 386"/>
                <a:gd name="T6" fmla="*/ 61 w 476"/>
                <a:gd name="T7" fmla="*/ 54 h 386"/>
                <a:gd name="T8" fmla="*/ 148 w 476"/>
                <a:gd name="T9" fmla="*/ 42 h 386"/>
                <a:gd name="T10" fmla="*/ 242 w 476"/>
                <a:gd name="T11" fmla="*/ 0 h 386"/>
                <a:gd name="T12" fmla="*/ 413 w 476"/>
                <a:gd name="T13" fmla="*/ 21 h 386"/>
                <a:gd name="T14" fmla="*/ 514 w 476"/>
                <a:gd name="T15" fmla="*/ 2 h 386"/>
                <a:gd name="T16" fmla="*/ 661 w 476"/>
                <a:gd name="T17" fmla="*/ 36 h 386"/>
                <a:gd name="T18" fmla="*/ 870 w 476"/>
                <a:gd name="T19" fmla="*/ 47 h 386"/>
                <a:gd name="T20" fmla="*/ 964 w 476"/>
                <a:gd name="T21" fmla="*/ 26 h 386"/>
                <a:gd name="T22" fmla="*/ 1100 w 476"/>
                <a:gd name="T23" fmla="*/ 58 h 386"/>
                <a:gd name="T24" fmla="*/ 1159 w 476"/>
                <a:gd name="T25" fmla="*/ 78 h 386"/>
                <a:gd name="T26" fmla="*/ 1168 w 476"/>
                <a:gd name="T27" fmla="*/ 101 h 386"/>
                <a:gd name="T28" fmla="*/ 1255 w 476"/>
                <a:gd name="T29" fmla="*/ 111 h 386"/>
                <a:gd name="T30" fmla="*/ 1317 w 476"/>
                <a:gd name="T31" fmla="*/ 132 h 386"/>
                <a:gd name="T32" fmla="*/ 1353 w 476"/>
                <a:gd name="T33" fmla="*/ 143 h 386"/>
                <a:gd name="T34" fmla="*/ 1410 w 476"/>
                <a:gd name="T35" fmla="*/ 154 h 386"/>
                <a:gd name="T36" fmla="*/ 1469 w 476"/>
                <a:gd name="T37" fmla="*/ 132 h 386"/>
                <a:gd name="T38" fmla="*/ 1578 w 476"/>
                <a:gd name="T39" fmla="*/ 165 h 386"/>
                <a:gd name="T40" fmla="*/ 1625 w 476"/>
                <a:gd name="T41" fmla="*/ 181 h 386"/>
                <a:gd name="T42" fmla="*/ 1667 w 476"/>
                <a:gd name="T43" fmla="*/ 195 h 386"/>
                <a:gd name="T44" fmla="*/ 1733 w 476"/>
                <a:gd name="T45" fmla="*/ 195 h 386"/>
                <a:gd name="T46" fmla="*/ 1821 w 476"/>
                <a:gd name="T47" fmla="*/ 181 h 386"/>
                <a:gd name="T48" fmla="*/ 1842 w 476"/>
                <a:gd name="T49" fmla="*/ 221 h 386"/>
                <a:gd name="T50" fmla="*/ 1775 w 476"/>
                <a:gd name="T51" fmla="*/ 292 h 386"/>
                <a:gd name="T52" fmla="*/ 1625 w 476"/>
                <a:gd name="T53" fmla="*/ 345 h 386"/>
                <a:gd name="T54" fmla="*/ 1498 w 476"/>
                <a:gd name="T55" fmla="*/ 392 h 386"/>
                <a:gd name="T56" fmla="*/ 1501 w 476"/>
                <a:gd name="T57" fmla="*/ 419 h 386"/>
                <a:gd name="T58" fmla="*/ 1353 w 476"/>
                <a:gd name="T59" fmla="*/ 525 h 386"/>
                <a:gd name="T60" fmla="*/ 1322 w 476"/>
                <a:gd name="T61" fmla="*/ 583 h 386"/>
                <a:gd name="T62" fmla="*/ 1353 w 476"/>
                <a:gd name="T63" fmla="*/ 647 h 386"/>
                <a:gd name="T64" fmla="*/ 1368 w 476"/>
                <a:gd name="T65" fmla="*/ 693 h 386"/>
                <a:gd name="T66" fmla="*/ 1302 w 476"/>
                <a:gd name="T67" fmla="*/ 740 h 386"/>
                <a:gd name="T68" fmla="*/ 1258 w 476"/>
                <a:gd name="T69" fmla="*/ 822 h 386"/>
                <a:gd name="T70" fmla="*/ 1136 w 476"/>
                <a:gd name="T71" fmla="*/ 842 h 386"/>
                <a:gd name="T72" fmla="*/ 1051 w 476"/>
                <a:gd name="T73" fmla="*/ 933 h 386"/>
                <a:gd name="T74" fmla="*/ 964 w 476"/>
                <a:gd name="T75" fmla="*/ 935 h 386"/>
                <a:gd name="T76" fmla="*/ 719 w 476"/>
                <a:gd name="T77" fmla="*/ 933 h 386"/>
                <a:gd name="T78" fmla="*/ 583 w 476"/>
                <a:gd name="T79" fmla="*/ 996 h 386"/>
                <a:gd name="T80" fmla="*/ 568 w 476"/>
                <a:gd name="T81" fmla="*/ 1000 h 386"/>
                <a:gd name="T82" fmla="*/ 537 w 476"/>
                <a:gd name="T83" fmla="*/ 1022 h 386"/>
                <a:gd name="T84" fmla="*/ 444 w 476"/>
                <a:gd name="T85" fmla="*/ 968 h 386"/>
                <a:gd name="T86" fmla="*/ 413 w 476"/>
                <a:gd name="T87" fmla="*/ 933 h 386"/>
                <a:gd name="T88" fmla="*/ 341 w 476"/>
                <a:gd name="T89" fmla="*/ 879 h 386"/>
                <a:gd name="T90" fmla="*/ 265 w 476"/>
                <a:gd name="T91" fmla="*/ 869 h 386"/>
                <a:gd name="T92" fmla="*/ 304 w 476"/>
                <a:gd name="T93" fmla="*/ 794 h 386"/>
                <a:gd name="T94" fmla="*/ 280 w 476"/>
                <a:gd name="T95" fmla="*/ 730 h 386"/>
                <a:gd name="T96" fmla="*/ 351 w 476"/>
                <a:gd name="T97" fmla="*/ 647 h 386"/>
                <a:gd name="T98" fmla="*/ 272 w 476"/>
                <a:gd name="T99" fmla="*/ 573 h 386"/>
                <a:gd name="T100" fmla="*/ 351 w 476"/>
                <a:gd name="T101" fmla="*/ 552 h 386"/>
                <a:gd name="T102" fmla="*/ 366 w 476"/>
                <a:gd name="T103" fmla="*/ 419 h 386"/>
                <a:gd name="T104" fmla="*/ 366 w 476"/>
                <a:gd name="T105" fmla="*/ 360 h 386"/>
                <a:gd name="T106" fmla="*/ 467 w 476"/>
                <a:gd name="T107" fmla="*/ 303 h 386"/>
                <a:gd name="T108" fmla="*/ 381 w 476"/>
                <a:gd name="T109" fmla="*/ 242 h 386"/>
                <a:gd name="T110" fmla="*/ 203 w 476"/>
                <a:gd name="T111" fmla="*/ 253 h 386"/>
                <a:gd name="T112" fmla="*/ 70 w 476"/>
                <a:gd name="T113" fmla="*/ 253 h 38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76"/>
                <a:gd name="T172" fmla="*/ 0 h 386"/>
                <a:gd name="T173" fmla="*/ 476 w 476"/>
                <a:gd name="T174" fmla="*/ 386 h 38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76" h="386">
                  <a:moveTo>
                    <a:pt x="18" y="96"/>
                  </a:moveTo>
                  <a:lnTo>
                    <a:pt x="16" y="90"/>
                  </a:lnTo>
                  <a:lnTo>
                    <a:pt x="18" y="80"/>
                  </a:lnTo>
                  <a:lnTo>
                    <a:pt x="24" y="68"/>
                  </a:lnTo>
                  <a:lnTo>
                    <a:pt x="18" y="58"/>
                  </a:lnTo>
                  <a:lnTo>
                    <a:pt x="12" y="48"/>
                  </a:lnTo>
                  <a:lnTo>
                    <a:pt x="4" y="46"/>
                  </a:lnTo>
                  <a:lnTo>
                    <a:pt x="0" y="44"/>
                  </a:lnTo>
                  <a:lnTo>
                    <a:pt x="0" y="36"/>
                  </a:lnTo>
                  <a:lnTo>
                    <a:pt x="2" y="30"/>
                  </a:lnTo>
                  <a:lnTo>
                    <a:pt x="10" y="24"/>
                  </a:lnTo>
                  <a:lnTo>
                    <a:pt x="16" y="20"/>
                  </a:lnTo>
                  <a:lnTo>
                    <a:pt x="26" y="20"/>
                  </a:lnTo>
                  <a:lnTo>
                    <a:pt x="36" y="20"/>
                  </a:lnTo>
                  <a:lnTo>
                    <a:pt x="38" y="16"/>
                  </a:lnTo>
                  <a:lnTo>
                    <a:pt x="40" y="6"/>
                  </a:lnTo>
                  <a:lnTo>
                    <a:pt x="48" y="0"/>
                  </a:lnTo>
                  <a:lnTo>
                    <a:pt x="62" y="0"/>
                  </a:lnTo>
                  <a:lnTo>
                    <a:pt x="80" y="8"/>
                  </a:lnTo>
                  <a:lnTo>
                    <a:pt x="94" y="10"/>
                  </a:lnTo>
                  <a:lnTo>
                    <a:pt x="106" y="8"/>
                  </a:lnTo>
                  <a:lnTo>
                    <a:pt x="116" y="4"/>
                  </a:lnTo>
                  <a:lnTo>
                    <a:pt x="126" y="2"/>
                  </a:lnTo>
                  <a:lnTo>
                    <a:pt x="132" y="2"/>
                  </a:lnTo>
                  <a:lnTo>
                    <a:pt x="142" y="8"/>
                  </a:lnTo>
                  <a:lnTo>
                    <a:pt x="154" y="12"/>
                  </a:lnTo>
                  <a:lnTo>
                    <a:pt x="170" y="14"/>
                  </a:lnTo>
                  <a:lnTo>
                    <a:pt x="198" y="14"/>
                  </a:lnTo>
                  <a:lnTo>
                    <a:pt x="208" y="14"/>
                  </a:lnTo>
                  <a:lnTo>
                    <a:pt x="224" y="18"/>
                  </a:lnTo>
                  <a:lnTo>
                    <a:pt x="232" y="14"/>
                  </a:lnTo>
                  <a:lnTo>
                    <a:pt x="240" y="10"/>
                  </a:lnTo>
                  <a:lnTo>
                    <a:pt x="248" y="10"/>
                  </a:lnTo>
                  <a:lnTo>
                    <a:pt x="264" y="20"/>
                  </a:lnTo>
                  <a:lnTo>
                    <a:pt x="276" y="20"/>
                  </a:lnTo>
                  <a:lnTo>
                    <a:pt x="282" y="22"/>
                  </a:lnTo>
                  <a:lnTo>
                    <a:pt x="290" y="28"/>
                  </a:lnTo>
                  <a:lnTo>
                    <a:pt x="298" y="26"/>
                  </a:lnTo>
                  <a:lnTo>
                    <a:pt x="298" y="30"/>
                  </a:lnTo>
                  <a:lnTo>
                    <a:pt x="296" y="36"/>
                  </a:lnTo>
                  <a:lnTo>
                    <a:pt x="296" y="38"/>
                  </a:lnTo>
                  <a:lnTo>
                    <a:pt x="300" y="38"/>
                  </a:lnTo>
                  <a:lnTo>
                    <a:pt x="302" y="36"/>
                  </a:lnTo>
                  <a:lnTo>
                    <a:pt x="320" y="44"/>
                  </a:lnTo>
                  <a:lnTo>
                    <a:pt x="322" y="42"/>
                  </a:lnTo>
                  <a:lnTo>
                    <a:pt x="332" y="52"/>
                  </a:lnTo>
                  <a:lnTo>
                    <a:pt x="332" y="50"/>
                  </a:lnTo>
                  <a:lnTo>
                    <a:pt x="338" y="50"/>
                  </a:lnTo>
                  <a:lnTo>
                    <a:pt x="340" y="50"/>
                  </a:lnTo>
                  <a:lnTo>
                    <a:pt x="346" y="52"/>
                  </a:lnTo>
                  <a:lnTo>
                    <a:pt x="348" y="54"/>
                  </a:lnTo>
                  <a:lnTo>
                    <a:pt x="348" y="56"/>
                  </a:lnTo>
                  <a:lnTo>
                    <a:pt x="362" y="56"/>
                  </a:lnTo>
                  <a:lnTo>
                    <a:pt x="362" y="58"/>
                  </a:lnTo>
                  <a:lnTo>
                    <a:pt x="368" y="58"/>
                  </a:lnTo>
                  <a:lnTo>
                    <a:pt x="378" y="58"/>
                  </a:lnTo>
                  <a:lnTo>
                    <a:pt x="378" y="50"/>
                  </a:lnTo>
                  <a:lnTo>
                    <a:pt x="384" y="50"/>
                  </a:lnTo>
                  <a:lnTo>
                    <a:pt x="406" y="58"/>
                  </a:lnTo>
                  <a:lnTo>
                    <a:pt x="406" y="62"/>
                  </a:lnTo>
                  <a:lnTo>
                    <a:pt x="408" y="68"/>
                  </a:lnTo>
                  <a:lnTo>
                    <a:pt x="410" y="70"/>
                  </a:lnTo>
                  <a:lnTo>
                    <a:pt x="418" y="68"/>
                  </a:lnTo>
                  <a:lnTo>
                    <a:pt x="420" y="68"/>
                  </a:lnTo>
                  <a:lnTo>
                    <a:pt x="426" y="70"/>
                  </a:lnTo>
                  <a:lnTo>
                    <a:pt x="428" y="74"/>
                  </a:lnTo>
                  <a:lnTo>
                    <a:pt x="432" y="74"/>
                  </a:lnTo>
                  <a:lnTo>
                    <a:pt x="438" y="70"/>
                  </a:lnTo>
                  <a:lnTo>
                    <a:pt x="446" y="74"/>
                  </a:lnTo>
                  <a:lnTo>
                    <a:pt x="454" y="76"/>
                  </a:lnTo>
                  <a:lnTo>
                    <a:pt x="454" y="72"/>
                  </a:lnTo>
                  <a:lnTo>
                    <a:pt x="468" y="68"/>
                  </a:lnTo>
                  <a:lnTo>
                    <a:pt x="474" y="72"/>
                  </a:lnTo>
                  <a:lnTo>
                    <a:pt x="474" y="74"/>
                  </a:lnTo>
                  <a:lnTo>
                    <a:pt x="474" y="84"/>
                  </a:lnTo>
                  <a:lnTo>
                    <a:pt x="476" y="86"/>
                  </a:lnTo>
                  <a:lnTo>
                    <a:pt x="476" y="98"/>
                  </a:lnTo>
                  <a:lnTo>
                    <a:pt x="456" y="110"/>
                  </a:lnTo>
                  <a:lnTo>
                    <a:pt x="440" y="118"/>
                  </a:lnTo>
                  <a:lnTo>
                    <a:pt x="436" y="126"/>
                  </a:lnTo>
                  <a:lnTo>
                    <a:pt x="418" y="130"/>
                  </a:lnTo>
                  <a:lnTo>
                    <a:pt x="406" y="134"/>
                  </a:lnTo>
                  <a:lnTo>
                    <a:pt x="388" y="140"/>
                  </a:lnTo>
                  <a:lnTo>
                    <a:pt x="384" y="148"/>
                  </a:lnTo>
                  <a:lnTo>
                    <a:pt x="382" y="152"/>
                  </a:lnTo>
                  <a:lnTo>
                    <a:pt x="386" y="156"/>
                  </a:lnTo>
                  <a:lnTo>
                    <a:pt x="386" y="158"/>
                  </a:lnTo>
                  <a:lnTo>
                    <a:pt x="374" y="162"/>
                  </a:lnTo>
                  <a:lnTo>
                    <a:pt x="364" y="180"/>
                  </a:lnTo>
                  <a:lnTo>
                    <a:pt x="348" y="198"/>
                  </a:lnTo>
                  <a:lnTo>
                    <a:pt x="348" y="202"/>
                  </a:lnTo>
                  <a:lnTo>
                    <a:pt x="344" y="210"/>
                  </a:lnTo>
                  <a:lnTo>
                    <a:pt x="340" y="220"/>
                  </a:lnTo>
                  <a:lnTo>
                    <a:pt x="346" y="238"/>
                  </a:lnTo>
                  <a:lnTo>
                    <a:pt x="348" y="242"/>
                  </a:lnTo>
                  <a:lnTo>
                    <a:pt x="348" y="244"/>
                  </a:lnTo>
                  <a:lnTo>
                    <a:pt x="360" y="250"/>
                  </a:lnTo>
                  <a:lnTo>
                    <a:pt x="362" y="254"/>
                  </a:lnTo>
                  <a:lnTo>
                    <a:pt x="352" y="262"/>
                  </a:lnTo>
                  <a:lnTo>
                    <a:pt x="348" y="264"/>
                  </a:lnTo>
                  <a:lnTo>
                    <a:pt x="338" y="270"/>
                  </a:lnTo>
                  <a:lnTo>
                    <a:pt x="334" y="280"/>
                  </a:lnTo>
                  <a:lnTo>
                    <a:pt x="330" y="282"/>
                  </a:lnTo>
                  <a:lnTo>
                    <a:pt x="322" y="302"/>
                  </a:lnTo>
                  <a:lnTo>
                    <a:pt x="324" y="310"/>
                  </a:lnTo>
                  <a:lnTo>
                    <a:pt x="320" y="312"/>
                  </a:lnTo>
                  <a:lnTo>
                    <a:pt x="302" y="312"/>
                  </a:lnTo>
                  <a:lnTo>
                    <a:pt x="292" y="318"/>
                  </a:lnTo>
                  <a:lnTo>
                    <a:pt x="286" y="326"/>
                  </a:lnTo>
                  <a:lnTo>
                    <a:pt x="280" y="342"/>
                  </a:lnTo>
                  <a:lnTo>
                    <a:pt x="270" y="352"/>
                  </a:lnTo>
                  <a:lnTo>
                    <a:pt x="264" y="348"/>
                  </a:lnTo>
                  <a:lnTo>
                    <a:pt x="254" y="348"/>
                  </a:lnTo>
                  <a:lnTo>
                    <a:pt x="248" y="354"/>
                  </a:lnTo>
                  <a:lnTo>
                    <a:pt x="244" y="354"/>
                  </a:lnTo>
                  <a:lnTo>
                    <a:pt x="242" y="352"/>
                  </a:lnTo>
                  <a:lnTo>
                    <a:pt x="184" y="352"/>
                  </a:lnTo>
                  <a:lnTo>
                    <a:pt x="172" y="364"/>
                  </a:lnTo>
                  <a:lnTo>
                    <a:pt x="154" y="368"/>
                  </a:lnTo>
                  <a:lnTo>
                    <a:pt x="150" y="376"/>
                  </a:lnTo>
                  <a:lnTo>
                    <a:pt x="148" y="382"/>
                  </a:lnTo>
                  <a:lnTo>
                    <a:pt x="148" y="384"/>
                  </a:lnTo>
                  <a:lnTo>
                    <a:pt x="146" y="378"/>
                  </a:lnTo>
                  <a:lnTo>
                    <a:pt x="144" y="378"/>
                  </a:lnTo>
                  <a:lnTo>
                    <a:pt x="144" y="384"/>
                  </a:lnTo>
                  <a:lnTo>
                    <a:pt x="138" y="386"/>
                  </a:lnTo>
                  <a:lnTo>
                    <a:pt x="130" y="384"/>
                  </a:lnTo>
                  <a:lnTo>
                    <a:pt x="116" y="374"/>
                  </a:lnTo>
                  <a:lnTo>
                    <a:pt x="114" y="366"/>
                  </a:lnTo>
                  <a:lnTo>
                    <a:pt x="114" y="360"/>
                  </a:lnTo>
                  <a:lnTo>
                    <a:pt x="108" y="358"/>
                  </a:lnTo>
                  <a:lnTo>
                    <a:pt x="106" y="352"/>
                  </a:lnTo>
                  <a:lnTo>
                    <a:pt x="108" y="350"/>
                  </a:lnTo>
                  <a:lnTo>
                    <a:pt x="100" y="338"/>
                  </a:lnTo>
                  <a:lnTo>
                    <a:pt x="88" y="332"/>
                  </a:lnTo>
                  <a:lnTo>
                    <a:pt x="86" y="332"/>
                  </a:lnTo>
                  <a:lnTo>
                    <a:pt x="78" y="328"/>
                  </a:lnTo>
                  <a:lnTo>
                    <a:pt x="68" y="328"/>
                  </a:lnTo>
                  <a:lnTo>
                    <a:pt x="72" y="308"/>
                  </a:lnTo>
                  <a:lnTo>
                    <a:pt x="78" y="300"/>
                  </a:lnTo>
                  <a:lnTo>
                    <a:pt x="92" y="286"/>
                  </a:lnTo>
                  <a:lnTo>
                    <a:pt x="86" y="280"/>
                  </a:lnTo>
                  <a:lnTo>
                    <a:pt x="72" y="276"/>
                  </a:lnTo>
                  <a:lnTo>
                    <a:pt x="74" y="266"/>
                  </a:lnTo>
                  <a:lnTo>
                    <a:pt x="82" y="252"/>
                  </a:lnTo>
                  <a:lnTo>
                    <a:pt x="90" y="244"/>
                  </a:lnTo>
                  <a:lnTo>
                    <a:pt x="86" y="240"/>
                  </a:lnTo>
                  <a:lnTo>
                    <a:pt x="78" y="226"/>
                  </a:lnTo>
                  <a:lnTo>
                    <a:pt x="70" y="216"/>
                  </a:lnTo>
                  <a:lnTo>
                    <a:pt x="74" y="212"/>
                  </a:lnTo>
                  <a:lnTo>
                    <a:pt x="84" y="212"/>
                  </a:lnTo>
                  <a:lnTo>
                    <a:pt x="90" y="208"/>
                  </a:lnTo>
                  <a:lnTo>
                    <a:pt x="92" y="202"/>
                  </a:lnTo>
                  <a:lnTo>
                    <a:pt x="90" y="182"/>
                  </a:lnTo>
                  <a:lnTo>
                    <a:pt x="94" y="158"/>
                  </a:lnTo>
                  <a:lnTo>
                    <a:pt x="92" y="148"/>
                  </a:lnTo>
                  <a:lnTo>
                    <a:pt x="92" y="138"/>
                  </a:lnTo>
                  <a:lnTo>
                    <a:pt x="94" y="136"/>
                  </a:lnTo>
                  <a:lnTo>
                    <a:pt x="116" y="124"/>
                  </a:lnTo>
                  <a:lnTo>
                    <a:pt x="120" y="120"/>
                  </a:lnTo>
                  <a:lnTo>
                    <a:pt x="120" y="114"/>
                  </a:lnTo>
                  <a:lnTo>
                    <a:pt x="104" y="104"/>
                  </a:lnTo>
                  <a:lnTo>
                    <a:pt x="102" y="98"/>
                  </a:lnTo>
                  <a:lnTo>
                    <a:pt x="98" y="92"/>
                  </a:lnTo>
                  <a:lnTo>
                    <a:pt x="92" y="90"/>
                  </a:lnTo>
                  <a:lnTo>
                    <a:pt x="82" y="98"/>
                  </a:lnTo>
                  <a:lnTo>
                    <a:pt x="52" y="96"/>
                  </a:lnTo>
                  <a:lnTo>
                    <a:pt x="42" y="86"/>
                  </a:lnTo>
                  <a:lnTo>
                    <a:pt x="32" y="90"/>
                  </a:lnTo>
                  <a:lnTo>
                    <a:pt x="18" y="96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77" name="Textfeld 76">
            <a:extLst>
              <a:ext uri="{FF2B5EF4-FFF2-40B4-BE49-F238E27FC236}">
                <a16:creationId xmlns:a16="http://schemas.microsoft.com/office/drawing/2014/main" id="{71F662B3-F250-4CFD-87C8-73CC297FE2B2}"/>
              </a:ext>
            </a:extLst>
          </p:cNvPr>
          <p:cNvSpPr txBox="1"/>
          <p:nvPr/>
        </p:nvSpPr>
        <p:spPr>
          <a:xfrm>
            <a:off x="769146" y="915567"/>
            <a:ext cx="296747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First integration idea in the </a:t>
            </a:r>
          </a:p>
          <a:p>
            <a:r>
              <a:rPr lang="en-GB" dirty="0"/>
              <a:t>CEE countries in 2011- </a:t>
            </a:r>
          </a:p>
          <a:p>
            <a:r>
              <a:rPr lang="en-GB" dirty="0"/>
              <a:t>CEETR Project </a:t>
            </a:r>
          </a:p>
          <a:p>
            <a:endParaRPr lang="en-GB" dirty="0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83BE15B1-70AF-4A00-8DB4-8D1250165BA6}"/>
              </a:ext>
            </a:extLst>
          </p:cNvPr>
          <p:cNvSpPr txBox="1"/>
          <p:nvPr/>
        </p:nvSpPr>
        <p:spPr>
          <a:xfrm>
            <a:off x="5504395" y="915566"/>
            <a:ext cx="2933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Z - AT market integration </a:t>
            </a:r>
          </a:p>
        </p:txBody>
      </p:sp>
      <p:pic>
        <p:nvPicPr>
          <p:cNvPr id="79" name="Picture 7">
            <a:extLst>
              <a:ext uri="{FF2B5EF4-FFF2-40B4-BE49-F238E27FC236}">
                <a16:creationId xmlns:a16="http://schemas.microsoft.com/office/drawing/2014/main" id="{607F81F5-1EA4-48D4-BC96-02D1B5F615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6536" y="3086736"/>
            <a:ext cx="307752" cy="130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11" descr="http://stromliste.at/images/logo-e-control.jpg">
            <a:hlinkClick r:id="rId3"/>
            <a:extLst>
              <a:ext uri="{FF2B5EF4-FFF2-40B4-BE49-F238E27FC236}">
                <a16:creationId xmlns:a16="http://schemas.microsoft.com/office/drawing/2014/main" id="{8F9C56FE-D86B-4EB7-993B-606BBE479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194" y="3425771"/>
            <a:ext cx="242472" cy="172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2" descr="http://www.borealis.ca/files/styles/case_studies_page_logo/public/logo/N4G_net4gas_logo_colour.png?itok=lMDLS11g">
            <a:hlinkClick r:id="rId5"/>
            <a:extLst>
              <a:ext uri="{FF2B5EF4-FFF2-40B4-BE49-F238E27FC236}">
                <a16:creationId xmlns:a16="http://schemas.microsoft.com/office/drawing/2014/main" id="{CDCCD3FD-08C6-4944-A219-9ABCD3BAC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398" y="2729490"/>
            <a:ext cx="199715" cy="200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4" descr="https://www.eru.cz/eru-new-theme/images/logo-big.jpg">
            <a:hlinkClick r:id="rId7"/>
            <a:extLst>
              <a:ext uri="{FF2B5EF4-FFF2-40B4-BE49-F238E27FC236}">
                <a16:creationId xmlns:a16="http://schemas.microsoft.com/office/drawing/2014/main" id="{F270E6B3-8FB7-414F-9600-7CF91BBFAA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195" y="2580039"/>
            <a:ext cx="240336" cy="240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6" descr="https://media.licdn.com/mpr/mpr/shrink_200_200/AAEAAQAAAAAAAAQ3AAAAJDA3OGQzMmM1LWFiODItNDkzOC1iNTJiLTcyYzdmYTVjNWE3YQ.png">
            <a:hlinkClick r:id="rId9"/>
            <a:extLst>
              <a:ext uri="{FF2B5EF4-FFF2-40B4-BE49-F238E27FC236}">
                <a16:creationId xmlns:a16="http://schemas.microsoft.com/office/drawing/2014/main" id="{9DEEB0F6-753F-432F-BA2D-24089270BB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55" y="3385900"/>
            <a:ext cx="198546" cy="198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9365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AF98257-C27B-4EEC-B64C-B5B9D5FC3A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Spread AT-CZ and capacity costs on </a:t>
            </a:r>
            <a:r>
              <a:rPr lang="en-GB" b="1" i="1" u="sng" dirty="0"/>
              <a:t>yearly basis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5CD7218-710C-459D-A1E9-620A01C5034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79F6645-521A-45C7-B8A1-64FF68F64B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512D33A8-66D8-4525-89FB-466851B371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836" y="1021253"/>
            <a:ext cx="5968324" cy="371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D011E52D-29E3-43FA-9321-3F3719F21395}"/>
              </a:ext>
            </a:extLst>
          </p:cNvPr>
          <p:cNvSpPr txBox="1"/>
          <p:nvPr/>
        </p:nvSpPr>
        <p:spPr>
          <a:xfrm>
            <a:off x="143248" y="4842504"/>
            <a:ext cx="22926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gner </a:t>
            </a:r>
            <a:r>
              <a:rPr lang="en-GB" sz="1100" dirty="0" err="1"/>
              <a:t>Elbling</a:t>
            </a:r>
            <a:r>
              <a:rPr lang="en-GB" sz="1100" dirty="0"/>
              <a:t> &amp; Comp</a:t>
            </a:r>
            <a:r>
              <a:rPr lang="en-US" sz="11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123972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7266C3-9929-49C4-BB3B-88FA0A80D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Spread AT-CZ and capacity costs on </a:t>
            </a:r>
            <a:r>
              <a:rPr lang="en-GB" b="1" i="1" u="sng" dirty="0"/>
              <a:t>day-ahead basis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BDCBA20-187E-4E2E-B86C-26C57A67654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106FAB-B1DE-42EE-917D-E72897A7AF7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0C01CC02-BFBD-4AB3-B178-06A4558D5888}"/>
              </a:ext>
            </a:extLst>
          </p:cNvPr>
          <p:cNvSpPr txBox="1">
            <a:spLocks/>
          </p:cNvSpPr>
          <p:nvPr/>
        </p:nvSpPr>
        <p:spPr>
          <a:xfrm>
            <a:off x="6561088" y="5703889"/>
            <a:ext cx="2133600" cy="4762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i="1" kern="1200" baseline="0">
                <a:solidFill>
                  <a:schemeClr val="bg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8288" indent="-268288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Char char="&gt;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536575" indent="-268288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Char char="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720725" indent="-27305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896938" indent="-269875" algn="l" defTabSz="914400" rtl="0" eaLnBrk="1" latinLnBrk="0" hangingPunct="1">
              <a:spcBef>
                <a:spcPts val="400"/>
              </a:spcBef>
              <a:buFont typeface="Arial" pitchFamily="34" charset="0"/>
              <a:buChar char="–"/>
              <a:defRPr sz="1600" kern="1200">
                <a:solidFill>
                  <a:schemeClr val="tx2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F86687-BCEF-4555-A441-4DAADF8D100C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01317755-561C-464A-810F-B7F13C993A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5018" y="1023434"/>
            <a:ext cx="6073960" cy="3745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07888FB5-3A4B-4F3B-8289-6A75E912FB5A}"/>
              </a:ext>
            </a:extLst>
          </p:cNvPr>
          <p:cNvSpPr txBox="1"/>
          <p:nvPr/>
        </p:nvSpPr>
        <p:spPr>
          <a:xfrm>
            <a:off x="179512" y="4880781"/>
            <a:ext cx="229261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100" dirty="0"/>
              <a:t>Source: Wagner </a:t>
            </a:r>
            <a:r>
              <a:rPr lang="en-GB" sz="1100" dirty="0" err="1"/>
              <a:t>Elbling</a:t>
            </a:r>
            <a:r>
              <a:rPr lang="en-GB" sz="1100" dirty="0"/>
              <a:t> &amp; Comp</a:t>
            </a:r>
            <a:r>
              <a:rPr lang="en-US" sz="11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778780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2C2BF8-4545-4F66-9322-4AEF72A96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kern="0" dirty="0"/>
              <a:t>Czech-Austrian market integratio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066963D-1A2E-48E2-8803-7A34C463D6D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US" altLang="en-US" sz="2400" dirty="0">
                <a:ea typeface="ＭＳ Ｐゴシック" pitchFamily="34" charset="-128"/>
              </a:rPr>
              <a:t>Joint working group between the involved NRAs (ERÚ and E-Control) and the TSOs (Net4Gas, GCA and TAG) established in 2014</a:t>
            </a:r>
          </a:p>
          <a:p>
            <a:endParaRPr lang="en-US" altLang="en-US" sz="2400" dirty="0">
              <a:ea typeface="ＭＳ Ｐゴシック" pitchFamily="34" charset="-128"/>
            </a:endParaRPr>
          </a:p>
          <a:p>
            <a:pPr marL="400050" lvl="1" indent="0">
              <a:buNone/>
            </a:pPr>
            <a:r>
              <a:rPr lang="en-US" altLang="en-US" sz="2000" dirty="0">
                <a:ea typeface="ＭＳ Ｐゴシック" pitchFamily="34" charset="-128"/>
              </a:rPr>
              <a:t>Various market integration models have been analyzed</a:t>
            </a:r>
          </a:p>
          <a:p>
            <a:pPr marL="400050" lvl="1" indent="0">
              <a:buNone/>
            </a:pPr>
            <a:endParaRPr lang="en-US" altLang="en-US" sz="2000" dirty="0">
              <a:ea typeface="ＭＳ Ｐゴシック" pitchFamily="34" charset="-128"/>
            </a:endParaRP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altLang="en-US" sz="2000" dirty="0">
                <a:ea typeface="ＭＳ Ｐゴシック" pitchFamily="34" charset="-128"/>
              </a:rPr>
              <a:t>Market connection via new IP </a:t>
            </a:r>
            <a:r>
              <a:rPr lang="en-US" altLang="en-US" sz="2000" dirty="0" err="1">
                <a:ea typeface="ＭＳ Ｐゴシック" pitchFamily="34" charset="-128"/>
              </a:rPr>
              <a:t>Reintal</a:t>
            </a:r>
            <a:endParaRPr lang="en-US" altLang="en-US" sz="2000" dirty="0">
              <a:ea typeface="ＭＳ Ｐゴシック" pitchFamily="34" charset="-128"/>
            </a:endParaRP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altLang="en-US" sz="2000" dirty="0">
                <a:ea typeface="ＭＳ Ｐゴシック" pitchFamily="34" charset="-128"/>
              </a:rPr>
              <a:t>Trading Zone with separate VTPs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altLang="en-US" sz="2000" dirty="0">
                <a:ea typeface="ＭＳ Ｐゴシック" pitchFamily="34" charset="-128"/>
              </a:rPr>
              <a:t>Trading Zone with common VTP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en-US" altLang="en-US" sz="2000" b="1" dirty="0">
                <a:ea typeface="ＭＳ Ｐゴシック" pitchFamily="34" charset="-128"/>
              </a:rPr>
              <a:t>Trading Region Upgrade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38938AD-712F-40FC-866B-CA26DFB40D1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CD4D087-97FF-458B-AECC-829A23F153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2989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23E356-1593-4EBD-B8A8-1772EFA14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Trading Region Upgrade (TRU)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BB7A215-CDC9-4F69-83D2-75C5D83D547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RU is a </a:t>
            </a:r>
            <a:r>
              <a:rPr lang="en-US" sz="3200" b="1" dirty="0"/>
              <a:t>HUB to HUB </a:t>
            </a:r>
            <a:r>
              <a:rPr lang="en-US" sz="3200" dirty="0"/>
              <a:t>system operators´ service that entitles system users to nominations for exit from the Austrian eastern market area and immediate matching entry into the Czech market area and vice versa</a:t>
            </a:r>
          </a:p>
          <a:p>
            <a:endParaRPr lang="en-US" sz="3200" dirty="0"/>
          </a:p>
          <a:p>
            <a:r>
              <a:rPr lang="en-US" sz="3200" dirty="0"/>
              <a:t>TRU can be bought by </a:t>
            </a:r>
            <a:r>
              <a:rPr lang="en-US" sz="3200" b="1" u="sng" dirty="0"/>
              <a:t>shippers</a:t>
            </a:r>
            <a:r>
              <a:rPr lang="en-US" sz="3200" dirty="0"/>
              <a:t> and </a:t>
            </a:r>
            <a:r>
              <a:rPr lang="en-US" sz="3200" b="1" u="sng" dirty="0"/>
              <a:t>traders</a:t>
            </a:r>
            <a:r>
              <a:rPr lang="en-US" sz="3200" dirty="0"/>
              <a:t> 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35D74DD-F320-4F16-A715-055821DC7E5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51E6889-6447-4E3E-B7EF-C45326E061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1301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6A33E2-E76D-4BD1-8B1D-1A81BA303D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Without TRU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D2FC655-E911-4537-8B1F-47AB23AD4BE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D0CF563-BC7F-4888-8185-A070FDE49AE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grpSp>
        <p:nvGrpSpPr>
          <p:cNvPr id="8" name="Gruppierung 1">
            <a:extLst>
              <a:ext uri="{FF2B5EF4-FFF2-40B4-BE49-F238E27FC236}">
                <a16:creationId xmlns:a16="http://schemas.microsoft.com/office/drawing/2014/main" id="{FD2FD091-93A6-4FC2-A602-825A25FB034E}"/>
              </a:ext>
            </a:extLst>
          </p:cNvPr>
          <p:cNvGrpSpPr/>
          <p:nvPr/>
        </p:nvGrpSpPr>
        <p:grpSpPr>
          <a:xfrm>
            <a:off x="2187837" y="699542"/>
            <a:ext cx="6120684" cy="4536504"/>
            <a:chOff x="4992688" y="4456113"/>
            <a:chExt cx="595312" cy="423862"/>
          </a:xfrm>
        </p:grpSpPr>
        <p:sp>
          <p:nvSpPr>
            <p:cNvPr id="9" name="Freeform 22">
              <a:extLst>
                <a:ext uri="{FF2B5EF4-FFF2-40B4-BE49-F238E27FC236}">
                  <a16:creationId xmlns:a16="http://schemas.microsoft.com/office/drawing/2014/main" id="{D75D9AB2-FA85-4367-ACA3-95075971EFE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900" y="4456113"/>
              <a:ext cx="419100" cy="233362"/>
            </a:xfrm>
            <a:custGeom>
              <a:avLst/>
              <a:gdLst>
                <a:gd name="T0" fmla="*/ 212 w 254"/>
                <a:gd name="T1" fmla="*/ 329 h 150"/>
                <a:gd name="T2" fmla="*/ 173 w 254"/>
                <a:gd name="T3" fmla="*/ 314 h 150"/>
                <a:gd name="T4" fmla="*/ 89 w 254"/>
                <a:gd name="T5" fmla="*/ 268 h 150"/>
                <a:gd name="T6" fmla="*/ 46 w 254"/>
                <a:gd name="T7" fmla="*/ 221 h 150"/>
                <a:gd name="T8" fmla="*/ 50 w 254"/>
                <a:gd name="T9" fmla="*/ 167 h 150"/>
                <a:gd name="T10" fmla="*/ 0 w 254"/>
                <a:gd name="T11" fmla="*/ 130 h 150"/>
                <a:gd name="T12" fmla="*/ 50 w 254"/>
                <a:gd name="T13" fmla="*/ 109 h 150"/>
                <a:gd name="T14" fmla="*/ 111 w 254"/>
                <a:gd name="T15" fmla="*/ 86 h 150"/>
                <a:gd name="T16" fmla="*/ 173 w 254"/>
                <a:gd name="T17" fmla="*/ 63 h 150"/>
                <a:gd name="T18" fmla="*/ 243 w 254"/>
                <a:gd name="T19" fmla="*/ 47 h 150"/>
                <a:gd name="T20" fmla="*/ 293 w 254"/>
                <a:gd name="T21" fmla="*/ 26 h 150"/>
                <a:gd name="T22" fmla="*/ 324 w 254"/>
                <a:gd name="T23" fmla="*/ 0 h 150"/>
                <a:gd name="T24" fmla="*/ 369 w 254"/>
                <a:gd name="T25" fmla="*/ 31 h 150"/>
                <a:gd name="T26" fmla="*/ 408 w 254"/>
                <a:gd name="T27" fmla="*/ 15 h 150"/>
                <a:gd name="T28" fmla="*/ 429 w 254"/>
                <a:gd name="T29" fmla="*/ 0 h 150"/>
                <a:gd name="T30" fmla="*/ 477 w 254"/>
                <a:gd name="T31" fmla="*/ 36 h 150"/>
                <a:gd name="T32" fmla="*/ 528 w 254"/>
                <a:gd name="T33" fmla="*/ 57 h 150"/>
                <a:gd name="T34" fmla="*/ 583 w 254"/>
                <a:gd name="T35" fmla="*/ 63 h 150"/>
                <a:gd name="T36" fmla="*/ 612 w 254"/>
                <a:gd name="T37" fmla="*/ 74 h 150"/>
                <a:gd name="T38" fmla="*/ 583 w 254"/>
                <a:gd name="T39" fmla="*/ 93 h 150"/>
                <a:gd name="T40" fmla="*/ 658 w 254"/>
                <a:gd name="T41" fmla="*/ 145 h 150"/>
                <a:gd name="T42" fmla="*/ 683 w 254"/>
                <a:gd name="T43" fmla="*/ 104 h 150"/>
                <a:gd name="T44" fmla="*/ 734 w 254"/>
                <a:gd name="T45" fmla="*/ 109 h 150"/>
                <a:gd name="T46" fmla="*/ 779 w 254"/>
                <a:gd name="T47" fmla="*/ 136 h 150"/>
                <a:gd name="T48" fmla="*/ 802 w 254"/>
                <a:gd name="T49" fmla="*/ 164 h 150"/>
                <a:gd name="T50" fmla="*/ 869 w 254"/>
                <a:gd name="T51" fmla="*/ 167 h 150"/>
                <a:gd name="T52" fmla="*/ 930 w 254"/>
                <a:gd name="T53" fmla="*/ 208 h 150"/>
                <a:gd name="T54" fmla="*/ 961 w 254"/>
                <a:gd name="T55" fmla="*/ 233 h 150"/>
                <a:gd name="T56" fmla="*/ 942 w 254"/>
                <a:gd name="T57" fmla="*/ 241 h 150"/>
                <a:gd name="T58" fmla="*/ 925 w 254"/>
                <a:gd name="T59" fmla="*/ 244 h 150"/>
                <a:gd name="T60" fmla="*/ 900 w 254"/>
                <a:gd name="T61" fmla="*/ 260 h 150"/>
                <a:gd name="T62" fmla="*/ 879 w 254"/>
                <a:gd name="T63" fmla="*/ 271 h 150"/>
                <a:gd name="T64" fmla="*/ 862 w 254"/>
                <a:gd name="T65" fmla="*/ 283 h 150"/>
                <a:gd name="T66" fmla="*/ 854 w 254"/>
                <a:gd name="T67" fmla="*/ 307 h 150"/>
                <a:gd name="T68" fmla="*/ 831 w 254"/>
                <a:gd name="T69" fmla="*/ 314 h 150"/>
                <a:gd name="T70" fmla="*/ 822 w 254"/>
                <a:gd name="T71" fmla="*/ 329 h 150"/>
                <a:gd name="T72" fmla="*/ 809 w 254"/>
                <a:gd name="T73" fmla="*/ 334 h 150"/>
                <a:gd name="T74" fmla="*/ 785 w 254"/>
                <a:gd name="T75" fmla="*/ 341 h 150"/>
                <a:gd name="T76" fmla="*/ 764 w 254"/>
                <a:gd name="T77" fmla="*/ 346 h 150"/>
                <a:gd name="T78" fmla="*/ 755 w 254"/>
                <a:gd name="T79" fmla="*/ 346 h 150"/>
                <a:gd name="T80" fmla="*/ 728 w 254"/>
                <a:gd name="T81" fmla="*/ 334 h 150"/>
                <a:gd name="T82" fmla="*/ 711 w 254"/>
                <a:gd name="T83" fmla="*/ 346 h 150"/>
                <a:gd name="T84" fmla="*/ 696 w 254"/>
                <a:gd name="T85" fmla="*/ 364 h 150"/>
                <a:gd name="T86" fmla="*/ 683 w 254"/>
                <a:gd name="T87" fmla="*/ 372 h 150"/>
                <a:gd name="T88" fmla="*/ 490 w 254"/>
                <a:gd name="T89" fmla="*/ 348 h 150"/>
                <a:gd name="T90" fmla="*/ 316 w 254"/>
                <a:gd name="T91" fmla="*/ 392 h 150"/>
                <a:gd name="T92" fmla="*/ 247 w 254"/>
                <a:gd name="T93" fmla="*/ 374 h 15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150"/>
                <a:gd name="T143" fmla="*/ 254 w 254"/>
                <a:gd name="T144" fmla="*/ 150 h 15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150">
                  <a:moveTo>
                    <a:pt x="66" y="144"/>
                  </a:moveTo>
                  <a:lnTo>
                    <a:pt x="58" y="128"/>
                  </a:lnTo>
                  <a:lnTo>
                    <a:pt x="56" y="126"/>
                  </a:lnTo>
                  <a:lnTo>
                    <a:pt x="52" y="122"/>
                  </a:lnTo>
                  <a:lnTo>
                    <a:pt x="48" y="124"/>
                  </a:lnTo>
                  <a:lnTo>
                    <a:pt x="46" y="120"/>
                  </a:lnTo>
                  <a:lnTo>
                    <a:pt x="38" y="114"/>
                  </a:lnTo>
                  <a:lnTo>
                    <a:pt x="28" y="100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8" y="82"/>
                  </a:lnTo>
                  <a:lnTo>
                    <a:pt x="10" y="72"/>
                  </a:lnTo>
                  <a:lnTo>
                    <a:pt x="14" y="64"/>
                  </a:lnTo>
                  <a:lnTo>
                    <a:pt x="6" y="6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6" y="46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2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0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64" y="18"/>
                  </a:lnTo>
                  <a:lnTo>
                    <a:pt x="66" y="14"/>
                  </a:lnTo>
                  <a:lnTo>
                    <a:pt x="74" y="12"/>
                  </a:lnTo>
                  <a:lnTo>
                    <a:pt x="78" y="10"/>
                  </a:lnTo>
                  <a:lnTo>
                    <a:pt x="84" y="8"/>
                  </a:lnTo>
                  <a:lnTo>
                    <a:pt x="78" y="2"/>
                  </a:lnTo>
                  <a:lnTo>
                    <a:pt x="86" y="0"/>
                  </a:lnTo>
                  <a:lnTo>
                    <a:pt x="92" y="4"/>
                  </a:lnTo>
                  <a:lnTo>
                    <a:pt x="92" y="12"/>
                  </a:lnTo>
                  <a:lnTo>
                    <a:pt x="98" y="12"/>
                  </a:lnTo>
                  <a:lnTo>
                    <a:pt x="100" y="10"/>
                  </a:lnTo>
                  <a:lnTo>
                    <a:pt x="106" y="10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10"/>
                  </a:lnTo>
                  <a:lnTo>
                    <a:pt x="126" y="14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0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0" y="30"/>
                  </a:lnTo>
                  <a:lnTo>
                    <a:pt x="158" y="32"/>
                  </a:lnTo>
                  <a:lnTo>
                    <a:pt x="154" y="36"/>
                  </a:lnTo>
                  <a:lnTo>
                    <a:pt x="162" y="44"/>
                  </a:lnTo>
                  <a:lnTo>
                    <a:pt x="168" y="54"/>
                  </a:lnTo>
                  <a:lnTo>
                    <a:pt x="174" y="56"/>
                  </a:lnTo>
                  <a:lnTo>
                    <a:pt x="176" y="50"/>
                  </a:lnTo>
                  <a:lnTo>
                    <a:pt x="184" y="48"/>
                  </a:lnTo>
                  <a:lnTo>
                    <a:pt x="180" y="40"/>
                  </a:lnTo>
                  <a:lnTo>
                    <a:pt x="180" y="36"/>
                  </a:lnTo>
                  <a:lnTo>
                    <a:pt x="184" y="36"/>
                  </a:lnTo>
                  <a:lnTo>
                    <a:pt x="194" y="42"/>
                  </a:lnTo>
                  <a:lnTo>
                    <a:pt x="198" y="44"/>
                  </a:lnTo>
                  <a:lnTo>
                    <a:pt x="210" y="44"/>
                  </a:lnTo>
                  <a:lnTo>
                    <a:pt x="206" y="52"/>
                  </a:lnTo>
                  <a:lnTo>
                    <a:pt x="212" y="50"/>
                  </a:lnTo>
                  <a:lnTo>
                    <a:pt x="212" y="56"/>
                  </a:lnTo>
                  <a:lnTo>
                    <a:pt x="212" y="62"/>
                  </a:lnTo>
                  <a:lnTo>
                    <a:pt x="218" y="64"/>
                  </a:lnTo>
                  <a:lnTo>
                    <a:pt x="224" y="60"/>
                  </a:lnTo>
                  <a:lnTo>
                    <a:pt x="230" y="64"/>
                  </a:lnTo>
                  <a:lnTo>
                    <a:pt x="244" y="68"/>
                  </a:lnTo>
                  <a:lnTo>
                    <a:pt x="242" y="74"/>
                  </a:lnTo>
                  <a:lnTo>
                    <a:pt x="246" y="80"/>
                  </a:lnTo>
                  <a:lnTo>
                    <a:pt x="252" y="82"/>
                  </a:lnTo>
                  <a:lnTo>
                    <a:pt x="254" y="90"/>
                  </a:lnTo>
                  <a:lnTo>
                    <a:pt x="252" y="92"/>
                  </a:lnTo>
                  <a:lnTo>
                    <a:pt x="250" y="94"/>
                  </a:lnTo>
                  <a:lnTo>
                    <a:pt x="250" y="92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4"/>
                  </a:lnTo>
                  <a:lnTo>
                    <a:pt x="242" y="96"/>
                  </a:lnTo>
                  <a:lnTo>
                    <a:pt x="240" y="98"/>
                  </a:lnTo>
                  <a:lnTo>
                    <a:pt x="238" y="100"/>
                  </a:lnTo>
                  <a:lnTo>
                    <a:pt x="236" y="102"/>
                  </a:lnTo>
                  <a:lnTo>
                    <a:pt x="234" y="104"/>
                  </a:lnTo>
                  <a:lnTo>
                    <a:pt x="232" y="104"/>
                  </a:lnTo>
                  <a:lnTo>
                    <a:pt x="230" y="104"/>
                  </a:lnTo>
                  <a:lnTo>
                    <a:pt x="230" y="106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4" y="120"/>
                  </a:lnTo>
                  <a:lnTo>
                    <a:pt x="222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8" y="124"/>
                  </a:lnTo>
                  <a:lnTo>
                    <a:pt x="218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4" y="128"/>
                  </a:lnTo>
                  <a:lnTo>
                    <a:pt x="212" y="128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32"/>
                  </a:lnTo>
                  <a:lnTo>
                    <a:pt x="204" y="132"/>
                  </a:lnTo>
                  <a:lnTo>
                    <a:pt x="202" y="132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6" y="132"/>
                  </a:lnTo>
                  <a:lnTo>
                    <a:pt x="194" y="130"/>
                  </a:lnTo>
                  <a:lnTo>
                    <a:pt x="192" y="128"/>
                  </a:lnTo>
                  <a:lnTo>
                    <a:pt x="190" y="130"/>
                  </a:lnTo>
                  <a:lnTo>
                    <a:pt x="188" y="130"/>
                  </a:lnTo>
                  <a:lnTo>
                    <a:pt x="188" y="132"/>
                  </a:lnTo>
                  <a:lnTo>
                    <a:pt x="186" y="134"/>
                  </a:lnTo>
                  <a:lnTo>
                    <a:pt x="184" y="136"/>
                  </a:lnTo>
                  <a:lnTo>
                    <a:pt x="184" y="140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0" y="142"/>
                  </a:lnTo>
                  <a:lnTo>
                    <a:pt x="172" y="136"/>
                  </a:lnTo>
                  <a:lnTo>
                    <a:pt x="148" y="140"/>
                  </a:lnTo>
                  <a:lnTo>
                    <a:pt x="130" y="134"/>
                  </a:lnTo>
                  <a:lnTo>
                    <a:pt x="106" y="126"/>
                  </a:lnTo>
                  <a:lnTo>
                    <a:pt x="94" y="146"/>
                  </a:lnTo>
                  <a:lnTo>
                    <a:pt x="84" y="150"/>
                  </a:lnTo>
                  <a:lnTo>
                    <a:pt x="76" y="148"/>
                  </a:lnTo>
                  <a:lnTo>
                    <a:pt x="68" y="144"/>
                  </a:lnTo>
                  <a:lnTo>
                    <a:pt x="66" y="14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FC01A2DB-3047-4B62-A5B5-56D18B116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1" name="Ellipse 10">
            <a:extLst>
              <a:ext uri="{FF2B5EF4-FFF2-40B4-BE49-F238E27FC236}">
                <a16:creationId xmlns:a16="http://schemas.microsoft.com/office/drawing/2014/main" id="{A3424AFC-20D8-4675-9F5C-AA052BE03C14}"/>
              </a:ext>
            </a:extLst>
          </p:cNvPr>
          <p:cNvSpPr/>
          <p:nvPr/>
        </p:nvSpPr>
        <p:spPr>
          <a:xfrm>
            <a:off x="4913293" y="3197165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E2B201CC-3B32-4C7D-B725-E8466BC49ABC}"/>
              </a:ext>
            </a:extLst>
          </p:cNvPr>
          <p:cNvSpPr/>
          <p:nvPr/>
        </p:nvSpPr>
        <p:spPr>
          <a:xfrm>
            <a:off x="4564105" y="3410721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F4F42E5A-D148-4B0F-88DD-B99CFE90677F}"/>
              </a:ext>
            </a:extLst>
          </p:cNvPr>
          <p:cNvSpPr/>
          <p:nvPr/>
        </p:nvSpPr>
        <p:spPr>
          <a:xfrm>
            <a:off x="7012377" y="3258321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F611B25E-FED8-4559-8591-9348AA7EA804}"/>
              </a:ext>
            </a:extLst>
          </p:cNvPr>
          <p:cNvSpPr/>
          <p:nvPr/>
        </p:nvSpPr>
        <p:spPr>
          <a:xfrm>
            <a:off x="4974449" y="5092030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D24BED18-B866-4B43-BA14-EC2D7F3A857D}"/>
              </a:ext>
            </a:extLst>
          </p:cNvPr>
          <p:cNvSpPr/>
          <p:nvPr/>
        </p:nvSpPr>
        <p:spPr>
          <a:xfrm>
            <a:off x="7156393" y="3776187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42D395B3-D263-45AF-8509-374F1D6E8F90}"/>
              </a:ext>
            </a:extLst>
          </p:cNvPr>
          <p:cNvSpPr/>
          <p:nvPr/>
        </p:nvSpPr>
        <p:spPr>
          <a:xfrm>
            <a:off x="4204065" y="2067694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E2FF8116-1E2F-4FC7-9C19-C014A3109D56}"/>
              </a:ext>
            </a:extLst>
          </p:cNvPr>
          <p:cNvSpPr/>
          <p:nvPr/>
        </p:nvSpPr>
        <p:spPr>
          <a:xfrm>
            <a:off x="5140169" y="915566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78CA165B-F4A1-4376-B575-4294CA6987B7}"/>
              </a:ext>
            </a:extLst>
          </p:cNvPr>
          <p:cNvSpPr/>
          <p:nvPr/>
        </p:nvSpPr>
        <p:spPr>
          <a:xfrm>
            <a:off x="7444425" y="2789389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973B1DC-5F5C-4E74-89A7-950F5E4A048D}"/>
              </a:ext>
            </a:extLst>
          </p:cNvPr>
          <p:cNvSpPr/>
          <p:nvPr/>
        </p:nvSpPr>
        <p:spPr>
          <a:xfrm>
            <a:off x="6508321" y="4731990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Sechseck 19">
            <a:extLst>
              <a:ext uri="{FF2B5EF4-FFF2-40B4-BE49-F238E27FC236}">
                <a16:creationId xmlns:a16="http://schemas.microsoft.com/office/drawing/2014/main" id="{DB0E7CCF-631E-47AE-9FBD-D6D21F65518B}"/>
              </a:ext>
            </a:extLst>
          </p:cNvPr>
          <p:cNvSpPr/>
          <p:nvPr/>
        </p:nvSpPr>
        <p:spPr>
          <a:xfrm>
            <a:off x="6018586" y="1956234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Sechseck 20">
            <a:extLst>
              <a:ext uri="{FF2B5EF4-FFF2-40B4-BE49-F238E27FC236}">
                <a16:creationId xmlns:a16="http://schemas.microsoft.com/office/drawing/2014/main" id="{DCA5D60D-06A3-467F-82D0-B6C4A1BAC115}"/>
              </a:ext>
            </a:extLst>
          </p:cNvPr>
          <p:cNvSpPr/>
          <p:nvPr/>
        </p:nvSpPr>
        <p:spPr>
          <a:xfrm>
            <a:off x="5788241" y="3837343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26927EF-22CC-4C7E-A77D-BCE3BD929C20}"/>
              </a:ext>
            </a:extLst>
          </p:cNvPr>
          <p:cNvSpPr txBox="1"/>
          <p:nvPr/>
        </p:nvSpPr>
        <p:spPr>
          <a:xfrm>
            <a:off x="5766352" y="1626820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CZ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EE4E73B-E931-4EC0-A26E-D1B063B950F2}"/>
              </a:ext>
            </a:extLst>
          </p:cNvPr>
          <p:cNvSpPr txBox="1"/>
          <p:nvPr/>
        </p:nvSpPr>
        <p:spPr>
          <a:xfrm>
            <a:off x="5536007" y="3526671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AT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D50BD139-2F1D-467B-AE6F-C8531E901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062589" y="3408700"/>
            <a:ext cx="211985" cy="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F5CD95CF-2E2A-4129-8CFD-D1F8C40990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345" y="3614035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467D7246-A7AC-4C47-A305-F2455EBEFF41}"/>
              </a:ext>
            </a:extLst>
          </p:cNvPr>
          <p:cNvCxnSpPr>
            <a:cxnSpLocks/>
          </p:cNvCxnSpPr>
          <p:nvPr/>
        </p:nvCxnSpPr>
        <p:spPr>
          <a:xfrm>
            <a:off x="6199161" y="2037794"/>
            <a:ext cx="1245264" cy="749980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9E849611-245E-4A99-86DE-F981CE5BB47E}"/>
              </a:ext>
            </a:extLst>
          </p:cNvPr>
          <p:cNvCxnSpPr>
            <a:cxnSpLocks/>
          </p:cNvCxnSpPr>
          <p:nvPr/>
        </p:nvCxnSpPr>
        <p:spPr>
          <a:xfrm flipH="1">
            <a:off x="6780527" y="3417371"/>
            <a:ext cx="223470" cy="119148"/>
          </a:xfrm>
          <a:prstGeom prst="straightConnector1">
            <a:avLst/>
          </a:prstGeom>
          <a:ln>
            <a:solidFill>
              <a:srgbClr val="92D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>
            <a:extLst>
              <a:ext uri="{FF2B5EF4-FFF2-40B4-BE49-F238E27FC236}">
                <a16:creationId xmlns:a16="http://schemas.microsoft.com/office/drawing/2014/main" id="{A3BC9950-32EE-49BB-A09B-EE005954A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538" y="2056303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id="{591168B7-E318-4823-842B-DEBBBFC3FC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4300" y="2056303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4144C1FB-4340-4D8E-BD51-ABDBC836FA66}"/>
              </a:ext>
            </a:extLst>
          </p:cNvPr>
          <p:cNvCxnSpPr>
            <a:cxnSpLocks/>
          </p:cNvCxnSpPr>
          <p:nvPr/>
        </p:nvCxnSpPr>
        <p:spPr>
          <a:xfrm>
            <a:off x="7217549" y="2506030"/>
            <a:ext cx="226876" cy="172786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0DEB7312-08AA-4CEE-9169-966605499478}"/>
              </a:ext>
            </a:extLst>
          </p:cNvPr>
          <p:cNvCxnSpPr>
            <a:cxnSpLocks/>
          </p:cNvCxnSpPr>
          <p:nvPr/>
        </p:nvCxnSpPr>
        <p:spPr>
          <a:xfrm flipH="1">
            <a:off x="5973463" y="3308264"/>
            <a:ext cx="950668" cy="549440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>
            <a:extLst>
              <a:ext uri="{FF2B5EF4-FFF2-40B4-BE49-F238E27FC236}">
                <a16:creationId xmlns:a16="http://schemas.microsoft.com/office/drawing/2014/main" id="{E21D0D2A-8D11-4625-BDE7-E8306C7B7F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1642" y="2095281"/>
            <a:ext cx="2577203" cy="1655331"/>
          </a:xfrm>
          <a:prstGeom prst="rect">
            <a:avLst/>
          </a:prstGeom>
        </p:spPr>
      </p:pic>
      <p:pic>
        <p:nvPicPr>
          <p:cNvPr id="37" name="Picture 2">
            <a:extLst>
              <a:ext uri="{FF2B5EF4-FFF2-40B4-BE49-F238E27FC236}">
                <a16:creationId xmlns:a16="http://schemas.microsoft.com/office/drawing/2014/main" id="{166B32A1-73A6-4FED-BD01-FE3F058B2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481" y="2568743"/>
            <a:ext cx="211985" cy="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">
            <a:extLst>
              <a:ext uri="{FF2B5EF4-FFF2-40B4-BE49-F238E27FC236}">
                <a16:creationId xmlns:a16="http://schemas.microsoft.com/office/drawing/2014/main" id="{BF5D8891-4871-478F-8BA9-9777FBCCC6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2492" y="2750542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A2CB289C-C1CB-4FE5-8578-6B39DD8A69C4}"/>
              </a:ext>
            </a:extLst>
          </p:cNvPr>
          <p:cNvCxnSpPr>
            <a:cxnSpLocks/>
          </p:cNvCxnSpPr>
          <p:nvPr/>
        </p:nvCxnSpPr>
        <p:spPr>
          <a:xfrm>
            <a:off x="7621223" y="2809823"/>
            <a:ext cx="223470" cy="119148"/>
          </a:xfrm>
          <a:prstGeom prst="straightConnector1">
            <a:avLst/>
          </a:prstGeom>
          <a:ln>
            <a:solidFill>
              <a:srgbClr val="92D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">
            <a:extLst>
              <a:ext uri="{FF2B5EF4-FFF2-40B4-BE49-F238E27FC236}">
                <a16:creationId xmlns:a16="http://schemas.microsoft.com/office/drawing/2014/main" id="{A1B98CE6-028C-4886-8420-1CD87A153C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5414" y="2940945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">
            <a:extLst>
              <a:ext uri="{FF2B5EF4-FFF2-40B4-BE49-F238E27FC236}">
                <a16:creationId xmlns:a16="http://schemas.microsoft.com/office/drawing/2014/main" id="{7F0E540C-A518-43C6-B535-579233E93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838" y="3227436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2" name="Gerade Verbindung mit Pfeil 41">
            <a:extLst>
              <a:ext uri="{FF2B5EF4-FFF2-40B4-BE49-F238E27FC236}">
                <a16:creationId xmlns:a16="http://schemas.microsoft.com/office/drawing/2014/main" id="{646BE9E7-E336-40A5-8CCB-C1619C223CA6}"/>
              </a:ext>
            </a:extLst>
          </p:cNvPr>
          <p:cNvCxnSpPr>
            <a:cxnSpLocks/>
          </p:cNvCxnSpPr>
          <p:nvPr/>
        </p:nvCxnSpPr>
        <p:spPr>
          <a:xfrm flipH="1">
            <a:off x="7140607" y="3136344"/>
            <a:ext cx="296416" cy="171394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F207FCA-923A-4D37-928D-0C50FAE7EB03}"/>
              </a:ext>
            </a:extLst>
          </p:cNvPr>
          <p:cNvCxnSpPr>
            <a:cxnSpLocks/>
          </p:cNvCxnSpPr>
          <p:nvPr/>
        </p:nvCxnSpPr>
        <p:spPr>
          <a:xfrm flipH="1">
            <a:off x="4348081" y="2037794"/>
            <a:ext cx="1625382" cy="57487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Picture 3">
            <a:extLst>
              <a:ext uri="{FF2B5EF4-FFF2-40B4-BE49-F238E27FC236}">
                <a16:creationId xmlns:a16="http://schemas.microsoft.com/office/drawing/2014/main" id="{73FFFB06-B47C-4C82-B35B-5B72972FC1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076" y="1516426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2">
            <a:extLst>
              <a:ext uri="{FF2B5EF4-FFF2-40B4-BE49-F238E27FC236}">
                <a16:creationId xmlns:a16="http://schemas.microsoft.com/office/drawing/2014/main" id="{BE851313-ABD6-4EF9-A976-2818C5CAD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8897" y="1711488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A212854F-3E3A-4EAC-8C59-5961676ADB09}"/>
              </a:ext>
            </a:extLst>
          </p:cNvPr>
          <p:cNvCxnSpPr>
            <a:cxnSpLocks/>
          </p:cNvCxnSpPr>
          <p:nvPr/>
        </p:nvCxnSpPr>
        <p:spPr>
          <a:xfrm flipH="1">
            <a:off x="4204065" y="1956234"/>
            <a:ext cx="390618" cy="15193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2">
            <a:extLst>
              <a:ext uri="{FF2B5EF4-FFF2-40B4-BE49-F238E27FC236}">
                <a16:creationId xmlns:a16="http://schemas.microsoft.com/office/drawing/2014/main" id="{2F4A0C29-9409-4D74-B246-89A808870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7359" y="2187461"/>
            <a:ext cx="211985" cy="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2">
            <a:extLst>
              <a:ext uri="{FF2B5EF4-FFF2-40B4-BE49-F238E27FC236}">
                <a16:creationId xmlns:a16="http://schemas.microsoft.com/office/drawing/2014/main" id="{851904F2-678D-4A5C-8255-17CF40D3CA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444" y="2388297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9" name="Gerade Verbindung mit Pfeil 48">
            <a:extLst>
              <a:ext uri="{FF2B5EF4-FFF2-40B4-BE49-F238E27FC236}">
                <a16:creationId xmlns:a16="http://schemas.microsoft.com/office/drawing/2014/main" id="{5E989C32-BA18-469D-BF9B-42450D56E7E5}"/>
              </a:ext>
            </a:extLst>
          </p:cNvPr>
          <p:cNvCxnSpPr>
            <a:cxnSpLocks/>
          </p:cNvCxnSpPr>
          <p:nvPr/>
        </p:nvCxnSpPr>
        <p:spPr>
          <a:xfrm flipH="1">
            <a:off x="3908346" y="2139237"/>
            <a:ext cx="222030" cy="182172"/>
          </a:xfrm>
          <a:prstGeom prst="straightConnector1">
            <a:avLst/>
          </a:prstGeom>
          <a:ln>
            <a:solidFill>
              <a:srgbClr val="92D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3">
            <a:extLst>
              <a:ext uri="{FF2B5EF4-FFF2-40B4-BE49-F238E27FC236}">
                <a16:creationId xmlns:a16="http://schemas.microsoft.com/office/drawing/2014/main" id="{BFD621B1-5E41-4B04-AE31-A1D2FFAFAA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2173" y="2849478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2">
            <a:extLst>
              <a:ext uri="{FF2B5EF4-FFF2-40B4-BE49-F238E27FC236}">
                <a16:creationId xmlns:a16="http://schemas.microsoft.com/office/drawing/2014/main" id="{B2F6CD67-EC3E-45A5-91FC-73A6AE8D23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075" y="3005334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7106971C-13FA-4ACC-89C3-A95419619D00}"/>
              </a:ext>
            </a:extLst>
          </p:cNvPr>
          <p:cNvCxnSpPr>
            <a:cxnSpLocks/>
          </p:cNvCxnSpPr>
          <p:nvPr/>
        </p:nvCxnSpPr>
        <p:spPr>
          <a:xfrm>
            <a:off x="4669218" y="2983609"/>
            <a:ext cx="227851" cy="164516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3" name="Picture 2">
            <a:extLst>
              <a:ext uri="{FF2B5EF4-FFF2-40B4-BE49-F238E27FC236}">
                <a16:creationId xmlns:a16="http://schemas.microsoft.com/office/drawing/2014/main" id="{3C323C0B-2264-4DE2-B5C7-98FB60019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23526" y="3372502"/>
            <a:ext cx="211985" cy="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" name="Picture 2">
            <a:extLst>
              <a:ext uri="{FF2B5EF4-FFF2-40B4-BE49-F238E27FC236}">
                <a16:creationId xmlns:a16="http://schemas.microsoft.com/office/drawing/2014/main" id="{38F1BB83-BF9D-482A-8CDD-03922D9E1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8588" y="3586036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F8C102BA-EC07-4293-BCB0-98EFD151D164}"/>
              </a:ext>
            </a:extLst>
          </p:cNvPr>
          <p:cNvCxnSpPr>
            <a:cxnSpLocks/>
          </p:cNvCxnSpPr>
          <p:nvPr/>
        </p:nvCxnSpPr>
        <p:spPr>
          <a:xfrm>
            <a:off x="5035605" y="3293432"/>
            <a:ext cx="718893" cy="543911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7881F0C0-C40E-46ED-B3B3-7403D0DB5C92}"/>
              </a:ext>
            </a:extLst>
          </p:cNvPr>
          <p:cNvCxnSpPr>
            <a:cxnSpLocks/>
          </p:cNvCxnSpPr>
          <p:nvPr/>
        </p:nvCxnSpPr>
        <p:spPr>
          <a:xfrm>
            <a:off x="5046277" y="3219967"/>
            <a:ext cx="196442" cy="141951"/>
          </a:xfrm>
          <a:prstGeom prst="straightConnector1">
            <a:avLst/>
          </a:prstGeom>
          <a:ln>
            <a:solidFill>
              <a:srgbClr val="92D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6662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/>
      <p:bldP spid="2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0CBD3-80E1-44AF-BA03-AAAFA75FE1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i="1" dirty="0"/>
              <a:t>Trading region upgrad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27C752C-506C-49FA-B52D-533AEFA5F2D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94BA929-BD1C-4769-81FC-EE2BA32DEC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78DA2A-BD31-4577-85FF-81CAA09C04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7185" y="2120962"/>
            <a:ext cx="2577203" cy="1655331"/>
          </a:xfrm>
          <a:prstGeom prst="rect">
            <a:avLst/>
          </a:prstGeom>
        </p:spPr>
      </p:pic>
      <p:grpSp>
        <p:nvGrpSpPr>
          <p:cNvPr id="10" name="Gruppierung 1">
            <a:extLst>
              <a:ext uri="{FF2B5EF4-FFF2-40B4-BE49-F238E27FC236}">
                <a16:creationId xmlns:a16="http://schemas.microsoft.com/office/drawing/2014/main" id="{38AD4105-0844-4A59-A2B5-78593E0E021B}"/>
              </a:ext>
            </a:extLst>
          </p:cNvPr>
          <p:cNvGrpSpPr/>
          <p:nvPr/>
        </p:nvGrpSpPr>
        <p:grpSpPr>
          <a:xfrm>
            <a:off x="2113380" y="725223"/>
            <a:ext cx="6120684" cy="4536504"/>
            <a:chOff x="4992688" y="4456113"/>
            <a:chExt cx="595312" cy="423862"/>
          </a:xfrm>
        </p:grpSpPr>
        <p:sp>
          <p:nvSpPr>
            <p:cNvPr id="11" name="Freeform 22">
              <a:extLst>
                <a:ext uri="{FF2B5EF4-FFF2-40B4-BE49-F238E27FC236}">
                  <a16:creationId xmlns:a16="http://schemas.microsoft.com/office/drawing/2014/main" id="{1FE43CD0-F9B2-45C3-ADB9-E1C1D9A0DC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900" y="4456113"/>
              <a:ext cx="419100" cy="233362"/>
            </a:xfrm>
            <a:custGeom>
              <a:avLst/>
              <a:gdLst>
                <a:gd name="T0" fmla="*/ 212 w 254"/>
                <a:gd name="T1" fmla="*/ 329 h 150"/>
                <a:gd name="T2" fmla="*/ 173 w 254"/>
                <a:gd name="T3" fmla="*/ 314 h 150"/>
                <a:gd name="T4" fmla="*/ 89 w 254"/>
                <a:gd name="T5" fmla="*/ 268 h 150"/>
                <a:gd name="T6" fmla="*/ 46 w 254"/>
                <a:gd name="T7" fmla="*/ 221 h 150"/>
                <a:gd name="T8" fmla="*/ 50 w 254"/>
                <a:gd name="T9" fmla="*/ 167 h 150"/>
                <a:gd name="T10" fmla="*/ 0 w 254"/>
                <a:gd name="T11" fmla="*/ 130 h 150"/>
                <a:gd name="T12" fmla="*/ 50 w 254"/>
                <a:gd name="T13" fmla="*/ 109 h 150"/>
                <a:gd name="T14" fmla="*/ 111 w 254"/>
                <a:gd name="T15" fmla="*/ 86 h 150"/>
                <a:gd name="T16" fmla="*/ 173 w 254"/>
                <a:gd name="T17" fmla="*/ 63 h 150"/>
                <a:gd name="T18" fmla="*/ 243 w 254"/>
                <a:gd name="T19" fmla="*/ 47 h 150"/>
                <a:gd name="T20" fmla="*/ 293 w 254"/>
                <a:gd name="T21" fmla="*/ 26 h 150"/>
                <a:gd name="T22" fmla="*/ 324 w 254"/>
                <a:gd name="T23" fmla="*/ 0 h 150"/>
                <a:gd name="T24" fmla="*/ 369 w 254"/>
                <a:gd name="T25" fmla="*/ 31 h 150"/>
                <a:gd name="T26" fmla="*/ 408 w 254"/>
                <a:gd name="T27" fmla="*/ 15 h 150"/>
                <a:gd name="T28" fmla="*/ 429 w 254"/>
                <a:gd name="T29" fmla="*/ 0 h 150"/>
                <a:gd name="T30" fmla="*/ 477 w 254"/>
                <a:gd name="T31" fmla="*/ 36 h 150"/>
                <a:gd name="T32" fmla="*/ 528 w 254"/>
                <a:gd name="T33" fmla="*/ 57 h 150"/>
                <a:gd name="T34" fmla="*/ 583 w 254"/>
                <a:gd name="T35" fmla="*/ 63 h 150"/>
                <a:gd name="T36" fmla="*/ 612 w 254"/>
                <a:gd name="T37" fmla="*/ 74 h 150"/>
                <a:gd name="T38" fmla="*/ 583 w 254"/>
                <a:gd name="T39" fmla="*/ 93 h 150"/>
                <a:gd name="T40" fmla="*/ 658 w 254"/>
                <a:gd name="T41" fmla="*/ 145 h 150"/>
                <a:gd name="T42" fmla="*/ 683 w 254"/>
                <a:gd name="T43" fmla="*/ 104 h 150"/>
                <a:gd name="T44" fmla="*/ 734 w 254"/>
                <a:gd name="T45" fmla="*/ 109 h 150"/>
                <a:gd name="T46" fmla="*/ 779 w 254"/>
                <a:gd name="T47" fmla="*/ 136 h 150"/>
                <a:gd name="T48" fmla="*/ 802 w 254"/>
                <a:gd name="T49" fmla="*/ 164 h 150"/>
                <a:gd name="T50" fmla="*/ 869 w 254"/>
                <a:gd name="T51" fmla="*/ 167 h 150"/>
                <a:gd name="T52" fmla="*/ 930 w 254"/>
                <a:gd name="T53" fmla="*/ 208 h 150"/>
                <a:gd name="T54" fmla="*/ 961 w 254"/>
                <a:gd name="T55" fmla="*/ 233 h 150"/>
                <a:gd name="T56" fmla="*/ 942 w 254"/>
                <a:gd name="T57" fmla="*/ 241 h 150"/>
                <a:gd name="T58" fmla="*/ 925 w 254"/>
                <a:gd name="T59" fmla="*/ 244 h 150"/>
                <a:gd name="T60" fmla="*/ 900 w 254"/>
                <a:gd name="T61" fmla="*/ 260 h 150"/>
                <a:gd name="T62" fmla="*/ 879 w 254"/>
                <a:gd name="T63" fmla="*/ 271 h 150"/>
                <a:gd name="T64" fmla="*/ 862 w 254"/>
                <a:gd name="T65" fmla="*/ 283 h 150"/>
                <a:gd name="T66" fmla="*/ 854 w 254"/>
                <a:gd name="T67" fmla="*/ 307 h 150"/>
                <a:gd name="T68" fmla="*/ 831 w 254"/>
                <a:gd name="T69" fmla="*/ 314 h 150"/>
                <a:gd name="T70" fmla="*/ 822 w 254"/>
                <a:gd name="T71" fmla="*/ 329 h 150"/>
                <a:gd name="T72" fmla="*/ 809 w 254"/>
                <a:gd name="T73" fmla="*/ 334 h 150"/>
                <a:gd name="T74" fmla="*/ 785 w 254"/>
                <a:gd name="T75" fmla="*/ 341 h 150"/>
                <a:gd name="T76" fmla="*/ 764 w 254"/>
                <a:gd name="T77" fmla="*/ 346 h 150"/>
                <a:gd name="T78" fmla="*/ 755 w 254"/>
                <a:gd name="T79" fmla="*/ 346 h 150"/>
                <a:gd name="T80" fmla="*/ 728 w 254"/>
                <a:gd name="T81" fmla="*/ 334 h 150"/>
                <a:gd name="T82" fmla="*/ 711 w 254"/>
                <a:gd name="T83" fmla="*/ 346 h 150"/>
                <a:gd name="T84" fmla="*/ 696 w 254"/>
                <a:gd name="T85" fmla="*/ 364 h 150"/>
                <a:gd name="T86" fmla="*/ 683 w 254"/>
                <a:gd name="T87" fmla="*/ 372 h 150"/>
                <a:gd name="T88" fmla="*/ 490 w 254"/>
                <a:gd name="T89" fmla="*/ 348 h 150"/>
                <a:gd name="T90" fmla="*/ 316 w 254"/>
                <a:gd name="T91" fmla="*/ 392 h 150"/>
                <a:gd name="T92" fmla="*/ 247 w 254"/>
                <a:gd name="T93" fmla="*/ 374 h 15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150"/>
                <a:gd name="T143" fmla="*/ 254 w 254"/>
                <a:gd name="T144" fmla="*/ 150 h 15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150">
                  <a:moveTo>
                    <a:pt x="66" y="144"/>
                  </a:moveTo>
                  <a:lnTo>
                    <a:pt x="58" y="128"/>
                  </a:lnTo>
                  <a:lnTo>
                    <a:pt x="56" y="126"/>
                  </a:lnTo>
                  <a:lnTo>
                    <a:pt x="52" y="122"/>
                  </a:lnTo>
                  <a:lnTo>
                    <a:pt x="48" y="124"/>
                  </a:lnTo>
                  <a:lnTo>
                    <a:pt x="46" y="120"/>
                  </a:lnTo>
                  <a:lnTo>
                    <a:pt x="38" y="114"/>
                  </a:lnTo>
                  <a:lnTo>
                    <a:pt x="28" y="100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8" y="82"/>
                  </a:lnTo>
                  <a:lnTo>
                    <a:pt x="10" y="72"/>
                  </a:lnTo>
                  <a:lnTo>
                    <a:pt x="14" y="64"/>
                  </a:lnTo>
                  <a:lnTo>
                    <a:pt x="6" y="6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6" y="46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2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0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64" y="18"/>
                  </a:lnTo>
                  <a:lnTo>
                    <a:pt x="66" y="14"/>
                  </a:lnTo>
                  <a:lnTo>
                    <a:pt x="74" y="12"/>
                  </a:lnTo>
                  <a:lnTo>
                    <a:pt x="78" y="10"/>
                  </a:lnTo>
                  <a:lnTo>
                    <a:pt x="84" y="8"/>
                  </a:lnTo>
                  <a:lnTo>
                    <a:pt x="78" y="2"/>
                  </a:lnTo>
                  <a:lnTo>
                    <a:pt x="86" y="0"/>
                  </a:lnTo>
                  <a:lnTo>
                    <a:pt x="92" y="4"/>
                  </a:lnTo>
                  <a:lnTo>
                    <a:pt x="92" y="12"/>
                  </a:lnTo>
                  <a:lnTo>
                    <a:pt x="98" y="12"/>
                  </a:lnTo>
                  <a:lnTo>
                    <a:pt x="100" y="10"/>
                  </a:lnTo>
                  <a:lnTo>
                    <a:pt x="106" y="10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10"/>
                  </a:lnTo>
                  <a:lnTo>
                    <a:pt x="126" y="14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0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0" y="30"/>
                  </a:lnTo>
                  <a:lnTo>
                    <a:pt x="158" y="32"/>
                  </a:lnTo>
                  <a:lnTo>
                    <a:pt x="154" y="36"/>
                  </a:lnTo>
                  <a:lnTo>
                    <a:pt x="162" y="44"/>
                  </a:lnTo>
                  <a:lnTo>
                    <a:pt x="168" y="54"/>
                  </a:lnTo>
                  <a:lnTo>
                    <a:pt x="174" y="56"/>
                  </a:lnTo>
                  <a:lnTo>
                    <a:pt x="176" y="50"/>
                  </a:lnTo>
                  <a:lnTo>
                    <a:pt x="184" y="48"/>
                  </a:lnTo>
                  <a:lnTo>
                    <a:pt x="180" y="40"/>
                  </a:lnTo>
                  <a:lnTo>
                    <a:pt x="180" y="36"/>
                  </a:lnTo>
                  <a:lnTo>
                    <a:pt x="184" y="36"/>
                  </a:lnTo>
                  <a:lnTo>
                    <a:pt x="194" y="42"/>
                  </a:lnTo>
                  <a:lnTo>
                    <a:pt x="198" y="44"/>
                  </a:lnTo>
                  <a:lnTo>
                    <a:pt x="210" y="44"/>
                  </a:lnTo>
                  <a:lnTo>
                    <a:pt x="206" y="52"/>
                  </a:lnTo>
                  <a:lnTo>
                    <a:pt x="212" y="50"/>
                  </a:lnTo>
                  <a:lnTo>
                    <a:pt x="212" y="56"/>
                  </a:lnTo>
                  <a:lnTo>
                    <a:pt x="212" y="62"/>
                  </a:lnTo>
                  <a:lnTo>
                    <a:pt x="218" y="64"/>
                  </a:lnTo>
                  <a:lnTo>
                    <a:pt x="224" y="60"/>
                  </a:lnTo>
                  <a:lnTo>
                    <a:pt x="230" y="64"/>
                  </a:lnTo>
                  <a:lnTo>
                    <a:pt x="244" y="68"/>
                  </a:lnTo>
                  <a:lnTo>
                    <a:pt x="242" y="74"/>
                  </a:lnTo>
                  <a:lnTo>
                    <a:pt x="246" y="80"/>
                  </a:lnTo>
                  <a:lnTo>
                    <a:pt x="252" y="82"/>
                  </a:lnTo>
                  <a:lnTo>
                    <a:pt x="254" y="90"/>
                  </a:lnTo>
                  <a:lnTo>
                    <a:pt x="252" y="92"/>
                  </a:lnTo>
                  <a:lnTo>
                    <a:pt x="250" y="94"/>
                  </a:lnTo>
                  <a:lnTo>
                    <a:pt x="250" y="92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4"/>
                  </a:lnTo>
                  <a:lnTo>
                    <a:pt x="242" y="96"/>
                  </a:lnTo>
                  <a:lnTo>
                    <a:pt x="240" y="98"/>
                  </a:lnTo>
                  <a:lnTo>
                    <a:pt x="238" y="100"/>
                  </a:lnTo>
                  <a:lnTo>
                    <a:pt x="236" y="102"/>
                  </a:lnTo>
                  <a:lnTo>
                    <a:pt x="234" y="104"/>
                  </a:lnTo>
                  <a:lnTo>
                    <a:pt x="232" y="104"/>
                  </a:lnTo>
                  <a:lnTo>
                    <a:pt x="230" y="104"/>
                  </a:lnTo>
                  <a:lnTo>
                    <a:pt x="230" y="106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4" y="120"/>
                  </a:lnTo>
                  <a:lnTo>
                    <a:pt x="222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8" y="124"/>
                  </a:lnTo>
                  <a:lnTo>
                    <a:pt x="218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4" y="128"/>
                  </a:lnTo>
                  <a:lnTo>
                    <a:pt x="212" y="128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32"/>
                  </a:lnTo>
                  <a:lnTo>
                    <a:pt x="204" y="132"/>
                  </a:lnTo>
                  <a:lnTo>
                    <a:pt x="202" y="132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6" y="132"/>
                  </a:lnTo>
                  <a:lnTo>
                    <a:pt x="194" y="130"/>
                  </a:lnTo>
                  <a:lnTo>
                    <a:pt x="192" y="128"/>
                  </a:lnTo>
                  <a:lnTo>
                    <a:pt x="190" y="130"/>
                  </a:lnTo>
                  <a:lnTo>
                    <a:pt x="188" y="130"/>
                  </a:lnTo>
                  <a:lnTo>
                    <a:pt x="188" y="132"/>
                  </a:lnTo>
                  <a:lnTo>
                    <a:pt x="186" y="134"/>
                  </a:lnTo>
                  <a:lnTo>
                    <a:pt x="184" y="136"/>
                  </a:lnTo>
                  <a:lnTo>
                    <a:pt x="184" y="140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0" y="142"/>
                  </a:lnTo>
                  <a:lnTo>
                    <a:pt x="172" y="136"/>
                  </a:lnTo>
                  <a:lnTo>
                    <a:pt x="148" y="140"/>
                  </a:lnTo>
                  <a:lnTo>
                    <a:pt x="130" y="134"/>
                  </a:lnTo>
                  <a:lnTo>
                    <a:pt x="106" y="126"/>
                  </a:lnTo>
                  <a:lnTo>
                    <a:pt x="94" y="146"/>
                  </a:lnTo>
                  <a:lnTo>
                    <a:pt x="84" y="150"/>
                  </a:lnTo>
                  <a:lnTo>
                    <a:pt x="76" y="148"/>
                  </a:lnTo>
                  <a:lnTo>
                    <a:pt x="68" y="144"/>
                  </a:lnTo>
                  <a:lnTo>
                    <a:pt x="66" y="14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" name="Freeform 26">
              <a:extLst>
                <a:ext uri="{FF2B5EF4-FFF2-40B4-BE49-F238E27FC236}">
                  <a16:creationId xmlns:a16="http://schemas.microsoft.com/office/drawing/2014/main" id="{FDC2B5D3-2C6E-4116-A7CC-03109AA57D52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3" name="Ellipse 12">
            <a:extLst>
              <a:ext uri="{FF2B5EF4-FFF2-40B4-BE49-F238E27FC236}">
                <a16:creationId xmlns:a16="http://schemas.microsoft.com/office/drawing/2014/main" id="{999A2AA3-0CFF-4C7C-98AB-03B7120655CA}"/>
              </a:ext>
            </a:extLst>
          </p:cNvPr>
          <p:cNvSpPr/>
          <p:nvPr/>
        </p:nvSpPr>
        <p:spPr>
          <a:xfrm>
            <a:off x="4838836" y="3222846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BA026779-79F6-4B9F-A9E7-745B8CDF9872}"/>
              </a:ext>
            </a:extLst>
          </p:cNvPr>
          <p:cNvSpPr/>
          <p:nvPr/>
        </p:nvSpPr>
        <p:spPr>
          <a:xfrm>
            <a:off x="4489648" y="3436402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D089EBFE-41A2-43EB-8478-DFDA2C909D88}"/>
              </a:ext>
            </a:extLst>
          </p:cNvPr>
          <p:cNvSpPr/>
          <p:nvPr/>
        </p:nvSpPr>
        <p:spPr>
          <a:xfrm>
            <a:off x="6937920" y="3284002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19A14A41-DB0F-472C-B097-E2B6BA5E140D}"/>
              </a:ext>
            </a:extLst>
          </p:cNvPr>
          <p:cNvSpPr/>
          <p:nvPr/>
        </p:nvSpPr>
        <p:spPr>
          <a:xfrm>
            <a:off x="4899992" y="5117711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3EFE5AFF-EB02-45E3-BB0F-5F94F5D4590C}"/>
              </a:ext>
            </a:extLst>
          </p:cNvPr>
          <p:cNvSpPr/>
          <p:nvPr/>
        </p:nvSpPr>
        <p:spPr>
          <a:xfrm>
            <a:off x="7081936" y="3801868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A2F4B33-3858-4EF0-8B64-29C11043C599}"/>
              </a:ext>
            </a:extLst>
          </p:cNvPr>
          <p:cNvSpPr/>
          <p:nvPr/>
        </p:nvSpPr>
        <p:spPr>
          <a:xfrm>
            <a:off x="4129608" y="2093375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F5989282-5F7D-4F28-9BE9-81BEEB009354}"/>
              </a:ext>
            </a:extLst>
          </p:cNvPr>
          <p:cNvSpPr/>
          <p:nvPr/>
        </p:nvSpPr>
        <p:spPr>
          <a:xfrm>
            <a:off x="5065712" y="941247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27BF8638-39E8-40F4-A0EC-015103B739DB}"/>
              </a:ext>
            </a:extLst>
          </p:cNvPr>
          <p:cNvSpPr/>
          <p:nvPr/>
        </p:nvSpPr>
        <p:spPr>
          <a:xfrm>
            <a:off x="7369968" y="2815070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9C0291D7-B3DA-4FAA-84C1-3DA19114FB4E}"/>
              </a:ext>
            </a:extLst>
          </p:cNvPr>
          <p:cNvSpPr/>
          <p:nvPr/>
        </p:nvSpPr>
        <p:spPr>
          <a:xfrm>
            <a:off x="6433864" y="4757671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Sechseck 21">
            <a:extLst>
              <a:ext uri="{FF2B5EF4-FFF2-40B4-BE49-F238E27FC236}">
                <a16:creationId xmlns:a16="http://schemas.microsoft.com/office/drawing/2014/main" id="{275DCB31-FC63-4F64-B4FD-8EC1C64FC33B}"/>
              </a:ext>
            </a:extLst>
          </p:cNvPr>
          <p:cNvSpPr/>
          <p:nvPr/>
        </p:nvSpPr>
        <p:spPr>
          <a:xfrm>
            <a:off x="5944129" y="1981915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Sechseck 22">
            <a:extLst>
              <a:ext uri="{FF2B5EF4-FFF2-40B4-BE49-F238E27FC236}">
                <a16:creationId xmlns:a16="http://schemas.microsoft.com/office/drawing/2014/main" id="{2F49C3D7-825E-41F8-95EA-733918472506}"/>
              </a:ext>
            </a:extLst>
          </p:cNvPr>
          <p:cNvSpPr/>
          <p:nvPr/>
        </p:nvSpPr>
        <p:spPr>
          <a:xfrm>
            <a:off x="5713784" y="3863024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A1082B7-828E-407F-AAD8-2F7A93AA9B53}"/>
              </a:ext>
            </a:extLst>
          </p:cNvPr>
          <p:cNvSpPr txBox="1"/>
          <p:nvPr/>
        </p:nvSpPr>
        <p:spPr>
          <a:xfrm>
            <a:off x="5691895" y="1652501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CZ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3DEC1A58-6FC0-4E9D-B042-93B115A83BB1}"/>
              </a:ext>
            </a:extLst>
          </p:cNvPr>
          <p:cNvSpPr txBox="1"/>
          <p:nvPr/>
        </p:nvSpPr>
        <p:spPr>
          <a:xfrm>
            <a:off x="5461550" y="3552352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AT</a:t>
            </a: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id="{65AAC5CB-B132-4C53-9DB6-008F878320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0842" y="555526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>
            <a:extLst>
              <a:ext uri="{FF2B5EF4-FFF2-40B4-BE49-F238E27FC236}">
                <a16:creationId xmlns:a16="http://schemas.microsoft.com/office/drawing/2014/main" id="{1E3E8147-D210-487D-B6E0-1F40A6A182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0684" y="721713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B6A340E0-577D-4A1B-A7C0-77A5675E5FDC}"/>
              </a:ext>
            </a:extLst>
          </p:cNvPr>
          <p:cNvCxnSpPr/>
          <p:nvPr/>
        </p:nvCxnSpPr>
        <p:spPr>
          <a:xfrm flipH="1" flipV="1">
            <a:off x="4700612" y="586069"/>
            <a:ext cx="221434" cy="139154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">
            <a:extLst>
              <a:ext uri="{FF2B5EF4-FFF2-40B4-BE49-F238E27FC236}">
                <a16:creationId xmlns:a16="http://schemas.microsoft.com/office/drawing/2014/main" id="{81BE72B0-C030-42E4-8034-15E2CB289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54" y="2928906"/>
            <a:ext cx="306320" cy="303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Nach links gekrümmter Pfeil 28">
            <a:extLst>
              <a:ext uri="{FF2B5EF4-FFF2-40B4-BE49-F238E27FC236}">
                <a16:creationId xmlns:a16="http://schemas.microsoft.com/office/drawing/2014/main" id="{FC141F86-2335-4358-BEAB-308D7D57AB44}"/>
              </a:ext>
            </a:extLst>
          </p:cNvPr>
          <p:cNvSpPr/>
          <p:nvPr/>
        </p:nvSpPr>
        <p:spPr>
          <a:xfrm rot="11262612" flipH="1">
            <a:off x="6023781" y="2048485"/>
            <a:ext cx="680590" cy="2027932"/>
          </a:xfrm>
          <a:prstGeom prst="curvedLeftArrow">
            <a:avLst>
              <a:gd name="adj1" fmla="val 0"/>
              <a:gd name="adj2" fmla="val 9783"/>
              <a:gd name="adj3" fmla="val 12161"/>
            </a:avLst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21B863BC-DE55-48D1-BC36-6CF27C95A45E}"/>
              </a:ext>
            </a:extLst>
          </p:cNvPr>
          <p:cNvCxnSpPr/>
          <p:nvPr/>
        </p:nvCxnSpPr>
        <p:spPr>
          <a:xfrm flipH="1" flipV="1">
            <a:off x="5126868" y="1067966"/>
            <a:ext cx="812401" cy="896320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>
            <a:extLst>
              <a:ext uri="{FF2B5EF4-FFF2-40B4-BE49-F238E27FC236}">
                <a16:creationId xmlns:a16="http://schemas.microsoft.com/office/drawing/2014/main" id="{5329137E-E202-4528-9892-831A29D50A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53862" y="2759833"/>
            <a:ext cx="212485" cy="493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762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/>
      <p:bldP spid="25" grpId="0"/>
      <p:bldP spid="3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A0CBD3-80E1-44AF-BA03-AAAFA75FE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194400"/>
            <a:ext cx="6660268" cy="360000"/>
          </a:xfrm>
        </p:spPr>
        <p:txBody>
          <a:bodyPr/>
          <a:lstStyle/>
          <a:p>
            <a:r>
              <a:rPr lang="en-GB" b="1" i="1" dirty="0"/>
              <a:t>Trading region upgrad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27C752C-506C-49FA-B52D-533AEFA5F2D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94BA929-BD1C-4769-81FC-EE2BA32DEC6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A55DCE42-EA01-4444-99BB-1F7992F83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1545" y="2004604"/>
            <a:ext cx="2577203" cy="1655331"/>
          </a:xfrm>
          <a:prstGeom prst="rect">
            <a:avLst/>
          </a:prstGeom>
        </p:spPr>
      </p:pic>
      <p:grpSp>
        <p:nvGrpSpPr>
          <p:cNvPr id="34" name="Gruppierung 1">
            <a:extLst>
              <a:ext uri="{FF2B5EF4-FFF2-40B4-BE49-F238E27FC236}">
                <a16:creationId xmlns:a16="http://schemas.microsoft.com/office/drawing/2014/main" id="{C6572432-C3D6-4799-9F73-EA75A75A5FA3}"/>
              </a:ext>
            </a:extLst>
          </p:cNvPr>
          <p:cNvGrpSpPr/>
          <p:nvPr/>
        </p:nvGrpSpPr>
        <p:grpSpPr>
          <a:xfrm>
            <a:off x="2267740" y="608865"/>
            <a:ext cx="6120684" cy="4536504"/>
            <a:chOff x="4992688" y="4456113"/>
            <a:chExt cx="595312" cy="423862"/>
          </a:xfrm>
        </p:grpSpPr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4D015165-A7D6-410D-AAA2-3C8F2DD348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900" y="4456113"/>
              <a:ext cx="419100" cy="233362"/>
            </a:xfrm>
            <a:custGeom>
              <a:avLst/>
              <a:gdLst>
                <a:gd name="T0" fmla="*/ 212 w 254"/>
                <a:gd name="T1" fmla="*/ 329 h 150"/>
                <a:gd name="T2" fmla="*/ 173 w 254"/>
                <a:gd name="T3" fmla="*/ 314 h 150"/>
                <a:gd name="T4" fmla="*/ 89 w 254"/>
                <a:gd name="T5" fmla="*/ 268 h 150"/>
                <a:gd name="T6" fmla="*/ 46 w 254"/>
                <a:gd name="T7" fmla="*/ 221 h 150"/>
                <a:gd name="T8" fmla="*/ 50 w 254"/>
                <a:gd name="T9" fmla="*/ 167 h 150"/>
                <a:gd name="T10" fmla="*/ 0 w 254"/>
                <a:gd name="T11" fmla="*/ 130 h 150"/>
                <a:gd name="T12" fmla="*/ 50 w 254"/>
                <a:gd name="T13" fmla="*/ 109 h 150"/>
                <a:gd name="T14" fmla="*/ 111 w 254"/>
                <a:gd name="T15" fmla="*/ 86 h 150"/>
                <a:gd name="T16" fmla="*/ 173 w 254"/>
                <a:gd name="T17" fmla="*/ 63 h 150"/>
                <a:gd name="T18" fmla="*/ 243 w 254"/>
                <a:gd name="T19" fmla="*/ 47 h 150"/>
                <a:gd name="T20" fmla="*/ 293 w 254"/>
                <a:gd name="T21" fmla="*/ 26 h 150"/>
                <a:gd name="T22" fmla="*/ 324 w 254"/>
                <a:gd name="T23" fmla="*/ 0 h 150"/>
                <a:gd name="T24" fmla="*/ 369 w 254"/>
                <a:gd name="T25" fmla="*/ 31 h 150"/>
                <a:gd name="T26" fmla="*/ 408 w 254"/>
                <a:gd name="T27" fmla="*/ 15 h 150"/>
                <a:gd name="T28" fmla="*/ 429 w 254"/>
                <a:gd name="T29" fmla="*/ 0 h 150"/>
                <a:gd name="T30" fmla="*/ 477 w 254"/>
                <a:gd name="T31" fmla="*/ 36 h 150"/>
                <a:gd name="T32" fmla="*/ 528 w 254"/>
                <a:gd name="T33" fmla="*/ 57 h 150"/>
                <a:gd name="T34" fmla="*/ 583 w 254"/>
                <a:gd name="T35" fmla="*/ 63 h 150"/>
                <a:gd name="T36" fmla="*/ 612 w 254"/>
                <a:gd name="T37" fmla="*/ 74 h 150"/>
                <a:gd name="T38" fmla="*/ 583 w 254"/>
                <a:gd name="T39" fmla="*/ 93 h 150"/>
                <a:gd name="T40" fmla="*/ 658 w 254"/>
                <a:gd name="T41" fmla="*/ 145 h 150"/>
                <a:gd name="T42" fmla="*/ 683 w 254"/>
                <a:gd name="T43" fmla="*/ 104 h 150"/>
                <a:gd name="T44" fmla="*/ 734 w 254"/>
                <a:gd name="T45" fmla="*/ 109 h 150"/>
                <a:gd name="T46" fmla="*/ 779 w 254"/>
                <a:gd name="T47" fmla="*/ 136 h 150"/>
                <a:gd name="T48" fmla="*/ 802 w 254"/>
                <a:gd name="T49" fmla="*/ 164 h 150"/>
                <a:gd name="T50" fmla="*/ 869 w 254"/>
                <a:gd name="T51" fmla="*/ 167 h 150"/>
                <a:gd name="T52" fmla="*/ 930 w 254"/>
                <a:gd name="T53" fmla="*/ 208 h 150"/>
                <a:gd name="T54" fmla="*/ 961 w 254"/>
                <a:gd name="T55" fmla="*/ 233 h 150"/>
                <a:gd name="T56" fmla="*/ 942 w 254"/>
                <a:gd name="T57" fmla="*/ 241 h 150"/>
                <a:gd name="T58" fmla="*/ 925 w 254"/>
                <a:gd name="T59" fmla="*/ 244 h 150"/>
                <a:gd name="T60" fmla="*/ 900 w 254"/>
                <a:gd name="T61" fmla="*/ 260 h 150"/>
                <a:gd name="T62" fmla="*/ 879 w 254"/>
                <a:gd name="T63" fmla="*/ 271 h 150"/>
                <a:gd name="T64" fmla="*/ 862 w 254"/>
                <a:gd name="T65" fmla="*/ 283 h 150"/>
                <a:gd name="T66" fmla="*/ 854 w 254"/>
                <a:gd name="T67" fmla="*/ 307 h 150"/>
                <a:gd name="T68" fmla="*/ 831 w 254"/>
                <a:gd name="T69" fmla="*/ 314 h 150"/>
                <a:gd name="T70" fmla="*/ 822 w 254"/>
                <a:gd name="T71" fmla="*/ 329 h 150"/>
                <a:gd name="T72" fmla="*/ 809 w 254"/>
                <a:gd name="T73" fmla="*/ 334 h 150"/>
                <a:gd name="T74" fmla="*/ 785 w 254"/>
                <a:gd name="T75" fmla="*/ 341 h 150"/>
                <a:gd name="T76" fmla="*/ 764 w 254"/>
                <a:gd name="T77" fmla="*/ 346 h 150"/>
                <a:gd name="T78" fmla="*/ 755 w 254"/>
                <a:gd name="T79" fmla="*/ 346 h 150"/>
                <a:gd name="T80" fmla="*/ 728 w 254"/>
                <a:gd name="T81" fmla="*/ 334 h 150"/>
                <a:gd name="T82" fmla="*/ 711 w 254"/>
                <a:gd name="T83" fmla="*/ 346 h 150"/>
                <a:gd name="T84" fmla="*/ 696 w 254"/>
                <a:gd name="T85" fmla="*/ 364 h 150"/>
                <a:gd name="T86" fmla="*/ 683 w 254"/>
                <a:gd name="T87" fmla="*/ 372 h 150"/>
                <a:gd name="T88" fmla="*/ 490 w 254"/>
                <a:gd name="T89" fmla="*/ 348 h 150"/>
                <a:gd name="T90" fmla="*/ 316 w 254"/>
                <a:gd name="T91" fmla="*/ 392 h 150"/>
                <a:gd name="T92" fmla="*/ 247 w 254"/>
                <a:gd name="T93" fmla="*/ 374 h 15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54"/>
                <a:gd name="T142" fmla="*/ 0 h 150"/>
                <a:gd name="T143" fmla="*/ 254 w 254"/>
                <a:gd name="T144" fmla="*/ 150 h 15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54" h="150">
                  <a:moveTo>
                    <a:pt x="66" y="144"/>
                  </a:moveTo>
                  <a:lnTo>
                    <a:pt x="58" y="128"/>
                  </a:lnTo>
                  <a:lnTo>
                    <a:pt x="56" y="126"/>
                  </a:lnTo>
                  <a:lnTo>
                    <a:pt x="52" y="122"/>
                  </a:lnTo>
                  <a:lnTo>
                    <a:pt x="48" y="124"/>
                  </a:lnTo>
                  <a:lnTo>
                    <a:pt x="46" y="120"/>
                  </a:lnTo>
                  <a:lnTo>
                    <a:pt x="38" y="114"/>
                  </a:lnTo>
                  <a:lnTo>
                    <a:pt x="28" y="100"/>
                  </a:lnTo>
                  <a:lnTo>
                    <a:pt x="24" y="102"/>
                  </a:lnTo>
                  <a:lnTo>
                    <a:pt x="16" y="96"/>
                  </a:lnTo>
                  <a:lnTo>
                    <a:pt x="12" y="90"/>
                  </a:lnTo>
                  <a:lnTo>
                    <a:pt x="12" y="84"/>
                  </a:lnTo>
                  <a:lnTo>
                    <a:pt x="8" y="82"/>
                  </a:lnTo>
                  <a:lnTo>
                    <a:pt x="10" y="72"/>
                  </a:lnTo>
                  <a:lnTo>
                    <a:pt x="14" y="64"/>
                  </a:lnTo>
                  <a:lnTo>
                    <a:pt x="6" y="6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6" y="46"/>
                  </a:lnTo>
                  <a:lnTo>
                    <a:pt x="10" y="42"/>
                  </a:lnTo>
                  <a:lnTo>
                    <a:pt x="14" y="42"/>
                  </a:lnTo>
                  <a:lnTo>
                    <a:pt x="22" y="36"/>
                  </a:lnTo>
                  <a:lnTo>
                    <a:pt x="30" y="36"/>
                  </a:lnTo>
                  <a:lnTo>
                    <a:pt x="30" y="32"/>
                  </a:lnTo>
                  <a:lnTo>
                    <a:pt x="38" y="32"/>
                  </a:lnTo>
                  <a:lnTo>
                    <a:pt x="40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50" y="20"/>
                  </a:lnTo>
                  <a:lnTo>
                    <a:pt x="64" y="18"/>
                  </a:lnTo>
                  <a:lnTo>
                    <a:pt x="66" y="14"/>
                  </a:lnTo>
                  <a:lnTo>
                    <a:pt x="74" y="12"/>
                  </a:lnTo>
                  <a:lnTo>
                    <a:pt x="78" y="10"/>
                  </a:lnTo>
                  <a:lnTo>
                    <a:pt x="84" y="8"/>
                  </a:lnTo>
                  <a:lnTo>
                    <a:pt x="78" y="2"/>
                  </a:lnTo>
                  <a:lnTo>
                    <a:pt x="86" y="0"/>
                  </a:lnTo>
                  <a:lnTo>
                    <a:pt x="92" y="4"/>
                  </a:lnTo>
                  <a:lnTo>
                    <a:pt x="92" y="12"/>
                  </a:lnTo>
                  <a:lnTo>
                    <a:pt x="98" y="12"/>
                  </a:lnTo>
                  <a:lnTo>
                    <a:pt x="100" y="10"/>
                  </a:lnTo>
                  <a:lnTo>
                    <a:pt x="106" y="10"/>
                  </a:lnTo>
                  <a:lnTo>
                    <a:pt x="108" y="6"/>
                  </a:lnTo>
                  <a:lnTo>
                    <a:pt x="106" y="4"/>
                  </a:lnTo>
                  <a:lnTo>
                    <a:pt x="108" y="2"/>
                  </a:lnTo>
                  <a:lnTo>
                    <a:pt x="114" y="0"/>
                  </a:lnTo>
                  <a:lnTo>
                    <a:pt x="118" y="4"/>
                  </a:lnTo>
                  <a:lnTo>
                    <a:pt x="118" y="10"/>
                  </a:lnTo>
                  <a:lnTo>
                    <a:pt x="126" y="14"/>
                  </a:lnTo>
                  <a:lnTo>
                    <a:pt x="128" y="16"/>
                  </a:lnTo>
                  <a:lnTo>
                    <a:pt x="138" y="16"/>
                  </a:lnTo>
                  <a:lnTo>
                    <a:pt x="140" y="22"/>
                  </a:lnTo>
                  <a:lnTo>
                    <a:pt x="146" y="22"/>
                  </a:lnTo>
                  <a:lnTo>
                    <a:pt x="146" y="26"/>
                  </a:lnTo>
                  <a:lnTo>
                    <a:pt x="154" y="24"/>
                  </a:lnTo>
                  <a:lnTo>
                    <a:pt x="154" y="22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0" y="30"/>
                  </a:lnTo>
                  <a:lnTo>
                    <a:pt x="158" y="32"/>
                  </a:lnTo>
                  <a:lnTo>
                    <a:pt x="154" y="36"/>
                  </a:lnTo>
                  <a:lnTo>
                    <a:pt x="162" y="44"/>
                  </a:lnTo>
                  <a:lnTo>
                    <a:pt x="168" y="54"/>
                  </a:lnTo>
                  <a:lnTo>
                    <a:pt x="174" y="56"/>
                  </a:lnTo>
                  <a:lnTo>
                    <a:pt x="176" y="50"/>
                  </a:lnTo>
                  <a:lnTo>
                    <a:pt x="184" y="48"/>
                  </a:lnTo>
                  <a:lnTo>
                    <a:pt x="180" y="40"/>
                  </a:lnTo>
                  <a:lnTo>
                    <a:pt x="180" y="36"/>
                  </a:lnTo>
                  <a:lnTo>
                    <a:pt x="184" y="36"/>
                  </a:lnTo>
                  <a:lnTo>
                    <a:pt x="194" y="42"/>
                  </a:lnTo>
                  <a:lnTo>
                    <a:pt x="198" y="44"/>
                  </a:lnTo>
                  <a:lnTo>
                    <a:pt x="210" y="44"/>
                  </a:lnTo>
                  <a:lnTo>
                    <a:pt x="206" y="52"/>
                  </a:lnTo>
                  <a:lnTo>
                    <a:pt x="212" y="50"/>
                  </a:lnTo>
                  <a:lnTo>
                    <a:pt x="212" y="56"/>
                  </a:lnTo>
                  <a:lnTo>
                    <a:pt x="212" y="62"/>
                  </a:lnTo>
                  <a:lnTo>
                    <a:pt x="218" y="64"/>
                  </a:lnTo>
                  <a:lnTo>
                    <a:pt x="224" y="60"/>
                  </a:lnTo>
                  <a:lnTo>
                    <a:pt x="230" y="64"/>
                  </a:lnTo>
                  <a:lnTo>
                    <a:pt x="244" y="68"/>
                  </a:lnTo>
                  <a:lnTo>
                    <a:pt x="242" y="74"/>
                  </a:lnTo>
                  <a:lnTo>
                    <a:pt x="246" y="80"/>
                  </a:lnTo>
                  <a:lnTo>
                    <a:pt x="252" y="82"/>
                  </a:lnTo>
                  <a:lnTo>
                    <a:pt x="254" y="90"/>
                  </a:lnTo>
                  <a:lnTo>
                    <a:pt x="252" y="92"/>
                  </a:lnTo>
                  <a:lnTo>
                    <a:pt x="250" y="94"/>
                  </a:lnTo>
                  <a:lnTo>
                    <a:pt x="250" y="92"/>
                  </a:lnTo>
                  <a:lnTo>
                    <a:pt x="246" y="92"/>
                  </a:lnTo>
                  <a:lnTo>
                    <a:pt x="244" y="92"/>
                  </a:lnTo>
                  <a:lnTo>
                    <a:pt x="244" y="94"/>
                  </a:lnTo>
                  <a:lnTo>
                    <a:pt x="242" y="96"/>
                  </a:lnTo>
                  <a:lnTo>
                    <a:pt x="240" y="98"/>
                  </a:lnTo>
                  <a:lnTo>
                    <a:pt x="238" y="100"/>
                  </a:lnTo>
                  <a:lnTo>
                    <a:pt x="236" y="102"/>
                  </a:lnTo>
                  <a:lnTo>
                    <a:pt x="234" y="104"/>
                  </a:lnTo>
                  <a:lnTo>
                    <a:pt x="232" y="104"/>
                  </a:lnTo>
                  <a:lnTo>
                    <a:pt x="230" y="104"/>
                  </a:lnTo>
                  <a:lnTo>
                    <a:pt x="230" y="106"/>
                  </a:lnTo>
                  <a:lnTo>
                    <a:pt x="228" y="108"/>
                  </a:lnTo>
                  <a:lnTo>
                    <a:pt x="228" y="112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4" y="120"/>
                  </a:lnTo>
                  <a:lnTo>
                    <a:pt x="222" y="120"/>
                  </a:lnTo>
                  <a:lnTo>
                    <a:pt x="220" y="120"/>
                  </a:lnTo>
                  <a:lnTo>
                    <a:pt x="220" y="122"/>
                  </a:lnTo>
                  <a:lnTo>
                    <a:pt x="218" y="124"/>
                  </a:lnTo>
                  <a:lnTo>
                    <a:pt x="218" y="126"/>
                  </a:lnTo>
                  <a:lnTo>
                    <a:pt x="216" y="126"/>
                  </a:lnTo>
                  <a:lnTo>
                    <a:pt x="214" y="126"/>
                  </a:lnTo>
                  <a:lnTo>
                    <a:pt x="214" y="128"/>
                  </a:lnTo>
                  <a:lnTo>
                    <a:pt x="212" y="128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06" y="132"/>
                  </a:lnTo>
                  <a:lnTo>
                    <a:pt x="204" y="132"/>
                  </a:lnTo>
                  <a:lnTo>
                    <a:pt x="202" y="132"/>
                  </a:lnTo>
                  <a:lnTo>
                    <a:pt x="202" y="130"/>
                  </a:lnTo>
                  <a:lnTo>
                    <a:pt x="200" y="130"/>
                  </a:lnTo>
                  <a:lnTo>
                    <a:pt x="200" y="132"/>
                  </a:lnTo>
                  <a:lnTo>
                    <a:pt x="196" y="132"/>
                  </a:lnTo>
                  <a:lnTo>
                    <a:pt x="194" y="130"/>
                  </a:lnTo>
                  <a:lnTo>
                    <a:pt x="192" y="128"/>
                  </a:lnTo>
                  <a:lnTo>
                    <a:pt x="190" y="130"/>
                  </a:lnTo>
                  <a:lnTo>
                    <a:pt x="188" y="130"/>
                  </a:lnTo>
                  <a:lnTo>
                    <a:pt x="188" y="132"/>
                  </a:lnTo>
                  <a:lnTo>
                    <a:pt x="186" y="134"/>
                  </a:lnTo>
                  <a:lnTo>
                    <a:pt x="184" y="136"/>
                  </a:lnTo>
                  <a:lnTo>
                    <a:pt x="184" y="140"/>
                  </a:lnTo>
                  <a:lnTo>
                    <a:pt x="182" y="142"/>
                  </a:lnTo>
                  <a:lnTo>
                    <a:pt x="182" y="144"/>
                  </a:lnTo>
                  <a:lnTo>
                    <a:pt x="180" y="142"/>
                  </a:lnTo>
                  <a:lnTo>
                    <a:pt x="172" y="136"/>
                  </a:lnTo>
                  <a:lnTo>
                    <a:pt x="148" y="140"/>
                  </a:lnTo>
                  <a:lnTo>
                    <a:pt x="130" y="134"/>
                  </a:lnTo>
                  <a:lnTo>
                    <a:pt x="106" y="126"/>
                  </a:lnTo>
                  <a:lnTo>
                    <a:pt x="94" y="146"/>
                  </a:lnTo>
                  <a:lnTo>
                    <a:pt x="84" y="150"/>
                  </a:lnTo>
                  <a:lnTo>
                    <a:pt x="76" y="148"/>
                  </a:lnTo>
                  <a:lnTo>
                    <a:pt x="68" y="144"/>
                  </a:lnTo>
                  <a:lnTo>
                    <a:pt x="66" y="144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B200AC4D-F2BC-4697-A520-46F73A03D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4992688" y="4651375"/>
              <a:ext cx="500062" cy="228600"/>
            </a:xfrm>
            <a:custGeom>
              <a:avLst/>
              <a:gdLst>
                <a:gd name="T0" fmla="*/ 31 w 302"/>
                <a:gd name="T1" fmla="*/ 209 h 148"/>
                <a:gd name="T2" fmla="*/ 48 w 302"/>
                <a:gd name="T3" fmla="*/ 207 h 148"/>
                <a:gd name="T4" fmla="*/ 70 w 302"/>
                <a:gd name="T5" fmla="*/ 215 h 148"/>
                <a:gd name="T6" fmla="*/ 86 w 302"/>
                <a:gd name="T7" fmla="*/ 229 h 148"/>
                <a:gd name="T8" fmla="*/ 100 w 302"/>
                <a:gd name="T9" fmla="*/ 244 h 148"/>
                <a:gd name="T10" fmla="*/ 138 w 302"/>
                <a:gd name="T11" fmla="*/ 224 h 148"/>
                <a:gd name="T12" fmla="*/ 155 w 302"/>
                <a:gd name="T13" fmla="*/ 207 h 148"/>
                <a:gd name="T14" fmla="*/ 198 w 302"/>
                <a:gd name="T15" fmla="*/ 209 h 148"/>
                <a:gd name="T16" fmla="*/ 217 w 302"/>
                <a:gd name="T17" fmla="*/ 229 h 148"/>
                <a:gd name="T18" fmla="*/ 275 w 302"/>
                <a:gd name="T19" fmla="*/ 220 h 148"/>
                <a:gd name="T20" fmla="*/ 303 w 302"/>
                <a:gd name="T21" fmla="*/ 209 h 148"/>
                <a:gd name="T22" fmla="*/ 392 w 302"/>
                <a:gd name="T23" fmla="*/ 198 h 148"/>
                <a:gd name="T24" fmla="*/ 429 w 302"/>
                <a:gd name="T25" fmla="*/ 184 h 148"/>
                <a:gd name="T26" fmla="*/ 477 w 302"/>
                <a:gd name="T27" fmla="*/ 189 h 148"/>
                <a:gd name="T28" fmla="*/ 486 w 302"/>
                <a:gd name="T29" fmla="*/ 207 h 148"/>
                <a:gd name="T30" fmla="*/ 523 w 302"/>
                <a:gd name="T31" fmla="*/ 215 h 148"/>
                <a:gd name="T32" fmla="*/ 523 w 302"/>
                <a:gd name="T33" fmla="*/ 184 h 148"/>
                <a:gd name="T34" fmla="*/ 516 w 302"/>
                <a:gd name="T35" fmla="*/ 164 h 148"/>
                <a:gd name="T36" fmla="*/ 499 w 302"/>
                <a:gd name="T37" fmla="*/ 106 h 148"/>
                <a:gd name="T38" fmla="*/ 577 w 302"/>
                <a:gd name="T39" fmla="*/ 76 h 148"/>
                <a:gd name="T40" fmla="*/ 593 w 302"/>
                <a:gd name="T41" fmla="*/ 50 h 148"/>
                <a:gd name="T42" fmla="*/ 661 w 302"/>
                <a:gd name="T43" fmla="*/ 47 h 148"/>
                <a:gd name="T44" fmla="*/ 700 w 302"/>
                <a:gd name="T45" fmla="*/ 56 h 148"/>
                <a:gd name="T46" fmla="*/ 770 w 302"/>
                <a:gd name="T47" fmla="*/ 50 h 148"/>
                <a:gd name="T48" fmla="*/ 905 w 302"/>
                <a:gd name="T49" fmla="*/ 21 h 148"/>
                <a:gd name="T50" fmla="*/ 1070 w 302"/>
                <a:gd name="T51" fmla="*/ 26 h 148"/>
                <a:gd name="T52" fmla="*/ 1106 w 302"/>
                <a:gd name="T53" fmla="*/ 47 h 148"/>
                <a:gd name="T54" fmla="*/ 1100 w 302"/>
                <a:gd name="T55" fmla="*/ 91 h 148"/>
                <a:gd name="T56" fmla="*/ 1160 w 302"/>
                <a:gd name="T57" fmla="*/ 143 h 148"/>
                <a:gd name="T58" fmla="*/ 1121 w 302"/>
                <a:gd name="T59" fmla="*/ 189 h 148"/>
                <a:gd name="T60" fmla="*/ 1060 w 302"/>
                <a:gd name="T61" fmla="*/ 184 h 148"/>
                <a:gd name="T62" fmla="*/ 1023 w 302"/>
                <a:gd name="T63" fmla="*/ 195 h 148"/>
                <a:gd name="T64" fmla="*/ 1060 w 302"/>
                <a:gd name="T65" fmla="*/ 209 h 148"/>
                <a:gd name="T66" fmla="*/ 1028 w 302"/>
                <a:gd name="T67" fmla="*/ 229 h 148"/>
                <a:gd name="T68" fmla="*/ 1038 w 302"/>
                <a:gd name="T69" fmla="*/ 267 h 148"/>
                <a:gd name="T70" fmla="*/ 1008 w 302"/>
                <a:gd name="T71" fmla="*/ 306 h 148"/>
                <a:gd name="T72" fmla="*/ 964 w 302"/>
                <a:gd name="T73" fmla="*/ 334 h 148"/>
                <a:gd name="T74" fmla="*/ 884 w 302"/>
                <a:gd name="T75" fmla="*/ 347 h 148"/>
                <a:gd name="T76" fmla="*/ 792 w 302"/>
                <a:gd name="T77" fmla="*/ 347 h 148"/>
                <a:gd name="T78" fmla="*/ 732 w 302"/>
                <a:gd name="T79" fmla="*/ 366 h 148"/>
                <a:gd name="T80" fmla="*/ 675 w 302"/>
                <a:gd name="T81" fmla="*/ 362 h 148"/>
                <a:gd name="T82" fmla="*/ 577 w 302"/>
                <a:gd name="T83" fmla="*/ 351 h 148"/>
                <a:gd name="T84" fmla="*/ 429 w 302"/>
                <a:gd name="T85" fmla="*/ 332 h 148"/>
                <a:gd name="T86" fmla="*/ 382 w 302"/>
                <a:gd name="T87" fmla="*/ 297 h 148"/>
                <a:gd name="T88" fmla="*/ 332 w 302"/>
                <a:gd name="T89" fmla="*/ 290 h 148"/>
                <a:gd name="T90" fmla="*/ 275 w 302"/>
                <a:gd name="T91" fmla="*/ 290 h 148"/>
                <a:gd name="T92" fmla="*/ 244 w 302"/>
                <a:gd name="T93" fmla="*/ 290 h 148"/>
                <a:gd name="T94" fmla="*/ 185 w 302"/>
                <a:gd name="T95" fmla="*/ 316 h 148"/>
                <a:gd name="T96" fmla="*/ 138 w 302"/>
                <a:gd name="T97" fmla="*/ 290 h 148"/>
                <a:gd name="T98" fmla="*/ 94 w 302"/>
                <a:gd name="T99" fmla="*/ 306 h 148"/>
                <a:gd name="T100" fmla="*/ 56 w 302"/>
                <a:gd name="T101" fmla="*/ 283 h 148"/>
                <a:gd name="T102" fmla="*/ 16 w 302"/>
                <a:gd name="T103" fmla="*/ 267 h 148"/>
                <a:gd name="T104" fmla="*/ 16 w 302"/>
                <a:gd name="T105" fmla="*/ 229 h 148"/>
                <a:gd name="T106" fmla="*/ 10 w 302"/>
                <a:gd name="T107" fmla="*/ 207 h 1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2"/>
                <a:gd name="T163" fmla="*/ 0 h 148"/>
                <a:gd name="T164" fmla="*/ 302 w 302"/>
                <a:gd name="T165" fmla="*/ 148 h 1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2" h="148">
                  <a:moveTo>
                    <a:pt x="2" y="80"/>
                  </a:moveTo>
                  <a:lnTo>
                    <a:pt x="8" y="82"/>
                  </a:lnTo>
                  <a:lnTo>
                    <a:pt x="12" y="78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8" y="84"/>
                  </a:lnTo>
                  <a:lnTo>
                    <a:pt x="22" y="86"/>
                  </a:lnTo>
                  <a:lnTo>
                    <a:pt x="22" y="90"/>
                  </a:lnTo>
                  <a:lnTo>
                    <a:pt x="26" y="90"/>
                  </a:lnTo>
                  <a:lnTo>
                    <a:pt x="26" y="96"/>
                  </a:lnTo>
                  <a:lnTo>
                    <a:pt x="28" y="96"/>
                  </a:lnTo>
                  <a:lnTo>
                    <a:pt x="36" y="88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0"/>
                  </a:lnTo>
                  <a:lnTo>
                    <a:pt x="52" y="82"/>
                  </a:lnTo>
                  <a:lnTo>
                    <a:pt x="54" y="86"/>
                  </a:lnTo>
                  <a:lnTo>
                    <a:pt x="56" y="90"/>
                  </a:lnTo>
                  <a:lnTo>
                    <a:pt x="66" y="90"/>
                  </a:lnTo>
                  <a:lnTo>
                    <a:pt x="72" y="86"/>
                  </a:lnTo>
                  <a:lnTo>
                    <a:pt x="74" y="82"/>
                  </a:lnTo>
                  <a:lnTo>
                    <a:pt x="78" y="82"/>
                  </a:lnTo>
                  <a:lnTo>
                    <a:pt x="80" y="78"/>
                  </a:lnTo>
                  <a:lnTo>
                    <a:pt x="102" y="78"/>
                  </a:lnTo>
                  <a:lnTo>
                    <a:pt x="104" y="72"/>
                  </a:lnTo>
                  <a:lnTo>
                    <a:pt x="112" y="72"/>
                  </a:lnTo>
                  <a:lnTo>
                    <a:pt x="114" y="76"/>
                  </a:lnTo>
                  <a:lnTo>
                    <a:pt x="124" y="74"/>
                  </a:lnTo>
                  <a:lnTo>
                    <a:pt x="128" y="76"/>
                  </a:lnTo>
                  <a:lnTo>
                    <a:pt x="126" y="80"/>
                  </a:lnTo>
                  <a:lnTo>
                    <a:pt x="134" y="86"/>
                  </a:lnTo>
                  <a:lnTo>
                    <a:pt x="136" y="84"/>
                  </a:lnTo>
                  <a:lnTo>
                    <a:pt x="136" y="76"/>
                  </a:lnTo>
                  <a:lnTo>
                    <a:pt x="136" y="72"/>
                  </a:lnTo>
                  <a:lnTo>
                    <a:pt x="130" y="70"/>
                  </a:lnTo>
                  <a:lnTo>
                    <a:pt x="134" y="64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48" y="34"/>
                  </a:lnTo>
                  <a:lnTo>
                    <a:pt x="150" y="30"/>
                  </a:lnTo>
                  <a:lnTo>
                    <a:pt x="150" y="22"/>
                  </a:lnTo>
                  <a:lnTo>
                    <a:pt x="154" y="20"/>
                  </a:lnTo>
                  <a:lnTo>
                    <a:pt x="160" y="26"/>
                  </a:lnTo>
                  <a:lnTo>
                    <a:pt x="172" y="18"/>
                  </a:lnTo>
                  <a:lnTo>
                    <a:pt x="174" y="18"/>
                  </a:lnTo>
                  <a:lnTo>
                    <a:pt x="182" y="22"/>
                  </a:lnTo>
                  <a:lnTo>
                    <a:pt x="190" y="24"/>
                  </a:lnTo>
                  <a:lnTo>
                    <a:pt x="200" y="20"/>
                  </a:lnTo>
                  <a:lnTo>
                    <a:pt x="212" y="0"/>
                  </a:lnTo>
                  <a:lnTo>
                    <a:pt x="236" y="8"/>
                  </a:lnTo>
                  <a:lnTo>
                    <a:pt x="254" y="14"/>
                  </a:lnTo>
                  <a:lnTo>
                    <a:pt x="278" y="10"/>
                  </a:lnTo>
                  <a:lnTo>
                    <a:pt x="286" y="16"/>
                  </a:lnTo>
                  <a:lnTo>
                    <a:pt x="288" y="18"/>
                  </a:lnTo>
                  <a:lnTo>
                    <a:pt x="288" y="20"/>
                  </a:lnTo>
                  <a:lnTo>
                    <a:pt x="286" y="36"/>
                  </a:lnTo>
                  <a:lnTo>
                    <a:pt x="290" y="42"/>
                  </a:lnTo>
                  <a:lnTo>
                    <a:pt x="302" y="56"/>
                  </a:lnTo>
                  <a:lnTo>
                    <a:pt x="292" y="64"/>
                  </a:lnTo>
                  <a:lnTo>
                    <a:pt x="292" y="74"/>
                  </a:lnTo>
                  <a:lnTo>
                    <a:pt x="280" y="74"/>
                  </a:lnTo>
                  <a:lnTo>
                    <a:pt x="276" y="72"/>
                  </a:lnTo>
                  <a:lnTo>
                    <a:pt x="270" y="72"/>
                  </a:lnTo>
                  <a:lnTo>
                    <a:pt x="266" y="76"/>
                  </a:lnTo>
                  <a:lnTo>
                    <a:pt x="274" y="78"/>
                  </a:lnTo>
                  <a:lnTo>
                    <a:pt x="276" y="82"/>
                  </a:lnTo>
                  <a:lnTo>
                    <a:pt x="274" y="88"/>
                  </a:lnTo>
                  <a:lnTo>
                    <a:pt x="268" y="90"/>
                  </a:lnTo>
                  <a:lnTo>
                    <a:pt x="266" y="100"/>
                  </a:lnTo>
                  <a:lnTo>
                    <a:pt x="270" y="104"/>
                  </a:lnTo>
                  <a:lnTo>
                    <a:pt x="268" y="112"/>
                  </a:lnTo>
                  <a:lnTo>
                    <a:pt x="262" y="120"/>
                  </a:lnTo>
                  <a:lnTo>
                    <a:pt x="250" y="124"/>
                  </a:lnTo>
                  <a:lnTo>
                    <a:pt x="250" y="132"/>
                  </a:lnTo>
                  <a:lnTo>
                    <a:pt x="236" y="130"/>
                  </a:lnTo>
                  <a:lnTo>
                    <a:pt x="230" y="136"/>
                  </a:lnTo>
                  <a:lnTo>
                    <a:pt x="216" y="132"/>
                  </a:lnTo>
                  <a:lnTo>
                    <a:pt x="206" y="136"/>
                  </a:lnTo>
                  <a:lnTo>
                    <a:pt x="194" y="148"/>
                  </a:lnTo>
                  <a:lnTo>
                    <a:pt x="190" y="144"/>
                  </a:lnTo>
                  <a:lnTo>
                    <a:pt x="180" y="144"/>
                  </a:lnTo>
                  <a:lnTo>
                    <a:pt x="176" y="142"/>
                  </a:lnTo>
                  <a:lnTo>
                    <a:pt x="158" y="140"/>
                  </a:lnTo>
                  <a:lnTo>
                    <a:pt x="150" y="138"/>
                  </a:lnTo>
                  <a:lnTo>
                    <a:pt x="134" y="136"/>
                  </a:lnTo>
                  <a:lnTo>
                    <a:pt x="112" y="130"/>
                  </a:lnTo>
                  <a:lnTo>
                    <a:pt x="106" y="120"/>
                  </a:lnTo>
                  <a:lnTo>
                    <a:pt x="100" y="116"/>
                  </a:lnTo>
                  <a:lnTo>
                    <a:pt x="100" y="108"/>
                  </a:lnTo>
                  <a:lnTo>
                    <a:pt x="86" y="114"/>
                  </a:lnTo>
                  <a:lnTo>
                    <a:pt x="80" y="110"/>
                  </a:lnTo>
                  <a:lnTo>
                    <a:pt x="72" y="114"/>
                  </a:lnTo>
                  <a:lnTo>
                    <a:pt x="70" y="112"/>
                  </a:lnTo>
                  <a:lnTo>
                    <a:pt x="64" y="114"/>
                  </a:lnTo>
                  <a:lnTo>
                    <a:pt x="58" y="124"/>
                  </a:lnTo>
                  <a:lnTo>
                    <a:pt x="48" y="124"/>
                  </a:lnTo>
                  <a:lnTo>
                    <a:pt x="36" y="120"/>
                  </a:lnTo>
                  <a:lnTo>
                    <a:pt x="36" y="114"/>
                  </a:lnTo>
                  <a:lnTo>
                    <a:pt x="34" y="112"/>
                  </a:lnTo>
                  <a:lnTo>
                    <a:pt x="24" y="120"/>
                  </a:lnTo>
                  <a:lnTo>
                    <a:pt x="14" y="114"/>
                  </a:lnTo>
                  <a:lnTo>
                    <a:pt x="14" y="110"/>
                  </a:lnTo>
                  <a:lnTo>
                    <a:pt x="2" y="108"/>
                  </a:lnTo>
                  <a:lnTo>
                    <a:pt x="4" y="104"/>
                  </a:lnTo>
                  <a:lnTo>
                    <a:pt x="0" y="96"/>
                  </a:lnTo>
                  <a:lnTo>
                    <a:pt x="4" y="90"/>
                  </a:lnTo>
                  <a:lnTo>
                    <a:pt x="2" y="80"/>
                  </a:lnTo>
                  <a:close/>
                </a:path>
              </a:pathLst>
            </a:custGeom>
            <a:solidFill>
              <a:srgbClr val="B2B2B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37" name="Ellipse 36">
            <a:extLst>
              <a:ext uri="{FF2B5EF4-FFF2-40B4-BE49-F238E27FC236}">
                <a16:creationId xmlns:a16="http://schemas.microsoft.com/office/drawing/2014/main" id="{3B25819F-EE56-4E15-A242-F420C98FAA45}"/>
              </a:ext>
            </a:extLst>
          </p:cNvPr>
          <p:cNvSpPr/>
          <p:nvPr/>
        </p:nvSpPr>
        <p:spPr>
          <a:xfrm>
            <a:off x="4993196" y="3106488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0E28B207-D355-499A-A19D-85CD6BD14788}"/>
              </a:ext>
            </a:extLst>
          </p:cNvPr>
          <p:cNvSpPr/>
          <p:nvPr/>
        </p:nvSpPr>
        <p:spPr>
          <a:xfrm>
            <a:off x="4644008" y="3320044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FA16F7FA-97D0-496A-9713-0F5D3177E1C7}"/>
              </a:ext>
            </a:extLst>
          </p:cNvPr>
          <p:cNvSpPr/>
          <p:nvPr/>
        </p:nvSpPr>
        <p:spPr>
          <a:xfrm>
            <a:off x="7092280" y="3167644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5D1B702B-6BB9-4113-A340-164DAD12A5E3}"/>
              </a:ext>
            </a:extLst>
          </p:cNvPr>
          <p:cNvSpPr/>
          <p:nvPr/>
        </p:nvSpPr>
        <p:spPr>
          <a:xfrm>
            <a:off x="5054352" y="5001353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4F524728-7DF6-4F17-AE74-12FC1D8521C5}"/>
              </a:ext>
            </a:extLst>
          </p:cNvPr>
          <p:cNvSpPr/>
          <p:nvPr/>
        </p:nvSpPr>
        <p:spPr>
          <a:xfrm>
            <a:off x="7236296" y="3685510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C77946EA-D23A-4818-903F-A9FC2D53F183}"/>
              </a:ext>
            </a:extLst>
          </p:cNvPr>
          <p:cNvSpPr/>
          <p:nvPr/>
        </p:nvSpPr>
        <p:spPr>
          <a:xfrm>
            <a:off x="4283968" y="1977017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Ellipse 42">
            <a:extLst>
              <a:ext uri="{FF2B5EF4-FFF2-40B4-BE49-F238E27FC236}">
                <a16:creationId xmlns:a16="http://schemas.microsoft.com/office/drawing/2014/main" id="{525EC0C8-1308-49A4-B8FC-54750819B7A3}"/>
              </a:ext>
            </a:extLst>
          </p:cNvPr>
          <p:cNvSpPr/>
          <p:nvPr/>
        </p:nvSpPr>
        <p:spPr>
          <a:xfrm>
            <a:off x="5220072" y="824889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81930C07-EEFD-4BB3-A9B0-8F6DA82373D2}"/>
              </a:ext>
            </a:extLst>
          </p:cNvPr>
          <p:cNvSpPr/>
          <p:nvPr/>
        </p:nvSpPr>
        <p:spPr>
          <a:xfrm>
            <a:off x="7524328" y="2698712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9192B51D-260C-4EDF-B9E8-08D7D2A871E2}"/>
              </a:ext>
            </a:extLst>
          </p:cNvPr>
          <p:cNvSpPr/>
          <p:nvPr/>
        </p:nvSpPr>
        <p:spPr>
          <a:xfrm>
            <a:off x="6588224" y="4641313"/>
            <a:ext cx="61156" cy="61156"/>
          </a:xfrm>
          <a:prstGeom prst="ellipse">
            <a:avLst/>
          </a:prstGeom>
          <a:solidFill>
            <a:srgbClr val="FF0000"/>
          </a:solidFill>
          <a:ln>
            <a:solidFill>
              <a:srgbClr val="FF3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6" name="Sechseck 45">
            <a:extLst>
              <a:ext uri="{FF2B5EF4-FFF2-40B4-BE49-F238E27FC236}">
                <a16:creationId xmlns:a16="http://schemas.microsoft.com/office/drawing/2014/main" id="{14F680A8-7359-434D-991B-083DE9905EB6}"/>
              </a:ext>
            </a:extLst>
          </p:cNvPr>
          <p:cNvSpPr/>
          <p:nvPr/>
        </p:nvSpPr>
        <p:spPr>
          <a:xfrm>
            <a:off x="6098489" y="1865557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Sechseck 46">
            <a:extLst>
              <a:ext uri="{FF2B5EF4-FFF2-40B4-BE49-F238E27FC236}">
                <a16:creationId xmlns:a16="http://schemas.microsoft.com/office/drawing/2014/main" id="{2182A688-7645-4FCC-8998-CF69555D9B73}"/>
              </a:ext>
            </a:extLst>
          </p:cNvPr>
          <p:cNvSpPr/>
          <p:nvPr/>
        </p:nvSpPr>
        <p:spPr>
          <a:xfrm>
            <a:off x="5868144" y="3746666"/>
            <a:ext cx="135452" cy="111460"/>
          </a:xfrm>
          <a:prstGeom prst="hexagon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18D580D9-8A3D-4044-8F7E-F5CA4B5B84A5}"/>
              </a:ext>
            </a:extLst>
          </p:cNvPr>
          <p:cNvSpPr txBox="1"/>
          <p:nvPr/>
        </p:nvSpPr>
        <p:spPr>
          <a:xfrm>
            <a:off x="5846255" y="1536143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CZ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4195BD58-77E1-4DD5-8BB9-7237E79DD3BB}"/>
              </a:ext>
            </a:extLst>
          </p:cNvPr>
          <p:cNvSpPr txBox="1"/>
          <p:nvPr/>
        </p:nvSpPr>
        <p:spPr>
          <a:xfrm>
            <a:off x="5615910" y="3435994"/>
            <a:ext cx="63991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i="1" dirty="0"/>
              <a:t>VTP AT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C6428219-2FD2-4909-B097-8A3ED56561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27" y="411510"/>
            <a:ext cx="211985" cy="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2">
            <a:extLst>
              <a:ext uri="{FF2B5EF4-FFF2-40B4-BE49-F238E27FC236}">
                <a16:creationId xmlns:a16="http://schemas.microsoft.com/office/drawing/2014/main" id="{882F5428-8F4E-496D-9523-97EA387D4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227" y="550642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3">
            <a:extLst>
              <a:ext uri="{FF2B5EF4-FFF2-40B4-BE49-F238E27FC236}">
                <a16:creationId xmlns:a16="http://schemas.microsoft.com/office/drawing/2014/main" id="{301F61E3-BD57-4D04-B52C-1C3A2F57E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1174" y="4344414"/>
            <a:ext cx="221596" cy="512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>
            <a:extLst>
              <a:ext uri="{FF2B5EF4-FFF2-40B4-BE49-F238E27FC236}">
                <a16:creationId xmlns:a16="http://schemas.microsoft.com/office/drawing/2014/main" id="{858BD5A0-FCBE-4C41-82EE-5CF54E7B4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016" y="4510601"/>
            <a:ext cx="309948" cy="3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4" name="Gerade Verbindung mit Pfeil 53">
            <a:extLst>
              <a:ext uri="{FF2B5EF4-FFF2-40B4-BE49-F238E27FC236}">
                <a16:creationId xmlns:a16="http://schemas.microsoft.com/office/drawing/2014/main" id="{E9C75EB1-C174-4B27-99A1-66DBAA70991C}"/>
              </a:ext>
            </a:extLst>
          </p:cNvPr>
          <p:cNvCxnSpPr/>
          <p:nvPr/>
        </p:nvCxnSpPr>
        <p:spPr>
          <a:xfrm>
            <a:off x="4959793" y="700726"/>
            <a:ext cx="223470" cy="119148"/>
          </a:xfrm>
          <a:prstGeom prst="straightConnector1">
            <a:avLst/>
          </a:prstGeom>
          <a:ln>
            <a:solidFill>
              <a:srgbClr val="92D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B68BEBBC-5C01-423B-B018-3901919D1B84}"/>
              </a:ext>
            </a:extLst>
          </p:cNvPr>
          <p:cNvCxnSpPr>
            <a:cxnSpLocks/>
          </p:cNvCxnSpPr>
          <p:nvPr/>
        </p:nvCxnSpPr>
        <p:spPr>
          <a:xfrm>
            <a:off x="6649380" y="4685887"/>
            <a:ext cx="266961" cy="225642"/>
          </a:xfrm>
          <a:prstGeom prst="straightConnector1">
            <a:avLst/>
          </a:prstGeom>
          <a:ln>
            <a:solidFill>
              <a:srgbClr val="FF33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" name="Picture 2">
            <a:extLst>
              <a:ext uri="{FF2B5EF4-FFF2-40B4-BE49-F238E27FC236}">
                <a16:creationId xmlns:a16="http://schemas.microsoft.com/office/drawing/2014/main" id="{603EA6C0-1B4F-42BE-A92E-3BCC52DDB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891" y="2832269"/>
            <a:ext cx="306320" cy="303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Nach links gekrümmter Pfeil 28">
            <a:extLst>
              <a:ext uri="{FF2B5EF4-FFF2-40B4-BE49-F238E27FC236}">
                <a16:creationId xmlns:a16="http://schemas.microsoft.com/office/drawing/2014/main" id="{A364CE64-212B-4294-AB66-AB4CD3857AFC}"/>
              </a:ext>
            </a:extLst>
          </p:cNvPr>
          <p:cNvSpPr/>
          <p:nvPr/>
        </p:nvSpPr>
        <p:spPr>
          <a:xfrm rot="415026" flipH="1">
            <a:off x="5219745" y="1879452"/>
            <a:ext cx="722916" cy="1875104"/>
          </a:xfrm>
          <a:prstGeom prst="curvedLeftArrow">
            <a:avLst>
              <a:gd name="adj1" fmla="val 0"/>
              <a:gd name="adj2" fmla="val 9783"/>
              <a:gd name="adj3" fmla="val 12161"/>
            </a:avLst>
          </a:prstGeom>
          <a:solidFill>
            <a:schemeClr val="bg1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FBF24360-D5B9-4BC3-B989-993D8410E758}"/>
              </a:ext>
            </a:extLst>
          </p:cNvPr>
          <p:cNvCxnSpPr>
            <a:cxnSpLocks/>
            <a:endCxn id="45" idx="1"/>
          </p:cNvCxnSpPr>
          <p:nvPr/>
        </p:nvCxnSpPr>
        <p:spPr>
          <a:xfrm>
            <a:off x="5868146" y="3922040"/>
            <a:ext cx="729034" cy="728229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C74DFAF7-E7F5-426C-A40D-514058E70A4B}"/>
              </a:ext>
            </a:extLst>
          </p:cNvPr>
          <p:cNvCxnSpPr>
            <a:cxnSpLocks/>
          </p:cNvCxnSpPr>
          <p:nvPr/>
        </p:nvCxnSpPr>
        <p:spPr>
          <a:xfrm>
            <a:off x="5248613" y="902136"/>
            <a:ext cx="824446" cy="963421"/>
          </a:xfrm>
          <a:prstGeom prst="straightConnector1">
            <a:avLst/>
          </a:prstGeom>
          <a:ln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" name="Grafik 59">
            <a:extLst>
              <a:ext uri="{FF2B5EF4-FFF2-40B4-BE49-F238E27FC236}">
                <a16:creationId xmlns:a16="http://schemas.microsoft.com/office/drawing/2014/main" id="{958B3F7C-E5C2-4784-96CB-2DB7E321A9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08222" y="2643475"/>
            <a:ext cx="212485" cy="493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045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/>
      <p:bldP spid="49" grpId="0"/>
      <p:bldP spid="5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DocumentName xmlns="959629f6-9180-4649-86c0-30df3e78ac81">TRU.pptx</AcerDocumentName>
    <ACER_Abstract xmlns="985daa2e-53d8-4475-82b8-9c7d25324e34" xsi:nil="true"/>
    <_dlc_DocId xmlns="985daa2e-53d8-4475-82b8-9c7d25324e34">ACER-2018-79337</_dlc_DocId>
    <_dlc_DocIdUrl xmlns="985daa2e-53d8-4475-82b8-9c7d25324e34">
      <Url>https://extranet.acer.europa.eu/Events/24th-Stakeholder-Group-Meeting/_layouts/15/DocIdRedir.aspx?ID=ACER-2018-79337</Url>
      <Description>ACER-2018-79337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68973875537543819112427E463607" ma:contentTypeVersion="20" ma:contentTypeDescription="Create a new document." ma:contentTypeScope="" ma:versionID="d80016635259354a3eaf806eb4d09c5e">
  <xsd:schema xmlns:xsd="http://www.w3.org/2001/XMLSchema" xmlns:xs="http://www.w3.org/2001/XMLSchema" xmlns:p="http://schemas.microsoft.com/office/2006/metadata/properties" xmlns:ns2="985daa2e-53d8-4475-82b8-9c7d25324e34" xmlns:ns3="959629f6-9180-4649-86c0-30df3e78ac81" targetNamespace="http://schemas.microsoft.com/office/2006/metadata/properties" ma:root="true" ma:fieldsID="4092f31a6356d37cdc8a95c017d03a1e" ns2:_="" ns3:_="">
    <xsd:import namespace="985daa2e-53d8-4475-82b8-9c7d25324e34"/>
    <xsd:import namespace="959629f6-9180-4649-86c0-30df3e78ac8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9629f6-9180-4649-86c0-30df3e78ac81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A05198-A39D-40AE-8FB2-200124A7086B}"/>
</file>

<file path=customXml/itemProps2.xml><?xml version="1.0" encoding="utf-8"?>
<ds:datastoreItem xmlns:ds="http://schemas.openxmlformats.org/officeDocument/2006/customXml" ds:itemID="{20DF9B3C-E208-439E-83ED-4B8DBE712BE2}"/>
</file>

<file path=customXml/itemProps3.xml><?xml version="1.0" encoding="utf-8"?>
<ds:datastoreItem xmlns:ds="http://schemas.openxmlformats.org/officeDocument/2006/customXml" ds:itemID="{BAEE472E-84FA-4426-9EAF-C7C2EC2AA94F}"/>
</file>

<file path=customXml/itemProps4.xml><?xml version="1.0" encoding="utf-8"?>
<ds:datastoreItem xmlns:ds="http://schemas.openxmlformats.org/officeDocument/2006/customXml" ds:itemID="{66FF395C-D1CC-4E11-8E3B-F72D6DB28A25}"/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221</Words>
  <Application>Microsoft Office PowerPoint</Application>
  <PresentationFormat>Bildschirmpräsentation (16:9)</PresentationFormat>
  <Paragraphs>65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3</vt:i4>
      </vt:variant>
    </vt:vector>
  </HeadingPairs>
  <TitlesOfParts>
    <vt:vector size="26" baseType="lpstr">
      <vt:lpstr>ＭＳ Ｐゴシック</vt:lpstr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Market integration in the CEE countries Czech – Austrian trading region   GRI SSE  Prag </vt:lpstr>
      <vt:lpstr>Market integration </vt:lpstr>
      <vt:lpstr>Spread AT-CZ and capacity costs on yearly basis </vt:lpstr>
      <vt:lpstr>Spread AT-CZ and capacity costs on day-ahead basis </vt:lpstr>
      <vt:lpstr>Czech-Austrian market integration</vt:lpstr>
      <vt:lpstr>Trading Region Upgrade (TRU)</vt:lpstr>
      <vt:lpstr>Without TRU</vt:lpstr>
      <vt:lpstr>Trading region upgrade</vt:lpstr>
      <vt:lpstr>Trading region upgrade</vt:lpstr>
      <vt:lpstr>TRU Pilot Phas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29T07:28:26Z</dcterms:created>
  <dcterms:modified xsi:type="dcterms:W3CDTF">2018-06-05T12:3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68973875537543819112427E463607</vt:lpwstr>
  </property>
  <property fmtid="{D5CDD505-2E9C-101B-9397-08002B2CF9AE}" pid="3" name="_dlc_DocIdItemGuid">
    <vt:lpwstr>082c2bc2-4f49-483a-b67c-5fd85ce037b5</vt:lpwstr>
  </property>
</Properties>
</file>